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7" r:id="rId1"/>
    <p:sldMasterId id="2147483857" r:id="rId2"/>
    <p:sldMasterId id="2147483888" r:id="rId3"/>
    <p:sldMasterId id="2147483919" r:id="rId4"/>
    <p:sldMasterId id="2147484001" r:id="rId5"/>
  </p:sldMasterIdLst>
  <p:notesMasterIdLst>
    <p:notesMasterId r:id="rId26"/>
  </p:notesMasterIdLst>
  <p:sldIdLst>
    <p:sldId id="283" r:id="rId6"/>
    <p:sldId id="259" r:id="rId7"/>
    <p:sldId id="279" r:id="rId8"/>
    <p:sldId id="284" r:id="rId9"/>
    <p:sldId id="278" r:id="rId10"/>
    <p:sldId id="262" r:id="rId11"/>
    <p:sldId id="280" r:id="rId12"/>
    <p:sldId id="267" r:id="rId13"/>
    <p:sldId id="264" r:id="rId14"/>
    <p:sldId id="263" r:id="rId15"/>
    <p:sldId id="275" r:id="rId16"/>
    <p:sldId id="276" r:id="rId17"/>
    <p:sldId id="265" r:id="rId18"/>
    <p:sldId id="266" r:id="rId19"/>
    <p:sldId id="281" r:id="rId20"/>
    <p:sldId id="268" r:id="rId21"/>
    <p:sldId id="274" r:id="rId22"/>
    <p:sldId id="269" r:id="rId23"/>
    <p:sldId id="271" r:id="rId24"/>
    <p:sldId id="270" r:id="rId25"/>
  </p:sldIdLst>
  <p:sldSz cx="9144000" cy="6858000" type="screen4x3"/>
  <p:notesSz cx="6858000" cy="9144000"/>
  <p:custDataLst>
    <p:tags r:id="rId2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7" pos="2880">
          <p15:clr>
            <a:srgbClr val="A4A3A4"/>
          </p15:clr>
        </p15:guide>
        <p15:guide id="8" pos="340" userDrawn="1">
          <p15:clr>
            <a:srgbClr val="A4A3A4"/>
          </p15:clr>
        </p15:guide>
        <p15:guide id="10" pos="5420" userDrawn="1">
          <p15:clr>
            <a:srgbClr val="A4A3A4"/>
          </p15:clr>
        </p15:guide>
        <p15:guide id="11" pos="3220" userDrawn="1">
          <p15:clr>
            <a:srgbClr val="A4A3A4"/>
          </p15:clr>
        </p15:guide>
        <p15:guide id="12" orient="horz" pos="913" userDrawn="1">
          <p15:clr>
            <a:srgbClr val="A4A3A4"/>
          </p15:clr>
        </p15:guide>
        <p15:guide id="13" orient="horz" pos="136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9D91"/>
    <a:srgbClr val="C2D8D0"/>
    <a:srgbClr val="D1E1DB"/>
    <a:srgbClr val="E3EDE9"/>
    <a:srgbClr val="E3F2E9"/>
    <a:srgbClr val="DEE6E5"/>
    <a:srgbClr val="1BAE8F"/>
    <a:srgbClr val="FFFFFF"/>
    <a:srgbClr val="E3EEE9"/>
    <a:srgbClr val="3CE0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6" autoAdjust="0"/>
    <p:restoredTop sz="96395" autoAdjust="0"/>
  </p:normalViewPr>
  <p:slideViewPr>
    <p:cSldViewPr snapToGrid="0">
      <p:cViewPr varScale="1">
        <p:scale>
          <a:sx n="87" d="100"/>
          <a:sy n="87" d="100"/>
        </p:scale>
        <p:origin x="1194" y="96"/>
      </p:cViewPr>
      <p:guideLst>
        <p:guide orient="horz" pos="2160"/>
        <p:guide pos="2880"/>
        <p:guide pos="340"/>
        <p:guide pos="5420"/>
        <p:guide pos="3220"/>
        <p:guide orient="horz" pos="913"/>
        <p:guide orient="horz" pos="136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LABORDE Patrick" userId="3092fdd4-06a5-413a-96c8-90cf6bd02b14" providerId="ADAL" clId="{16C0CE90-F37A-42FB-897C-19EA7DA86C6C}"/>
    <pc:docChg chg="addSld">
      <pc:chgData name="DELABORDE Patrick" userId="3092fdd4-06a5-413a-96c8-90cf6bd02b14" providerId="ADAL" clId="{16C0CE90-F37A-42FB-897C-19EA7DA86C6C}" dt="2021-06-29T14:04:43.309" v="0" actId="680"/>
      <pc:docMkLst>
        <pc:docMk/>
      </pc:docMkLst>
      <pc:sldChg chg="new">
        <pc:chgData name="DELABORDE Patrick" userId="3092fdd4-06a5-413a-96c8-90cf6bd02b14" providerId="ADAL" clId="{16C0CE90-F37A-42FB-897C-19EA7DA86C6C}" dt="2021-06-29T14:04:43.309" v="0" actId="680"/>
        <pc:sldMkLst>
          <pc:docMk/>
          <pc:sldMk cId="446668027" sldId="28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C2E589-FBB0-4D3E-90AC-7B28391FF1D4}" type="datetimeFigureOut">
              <a:rPr lang="fr-FR" smtClean="0"/>
              <a:t>29/06/2021</a:t>
            </a:fld>
            <a:endParaRPr lang="fr-FR"/>
          </a:p>
        </p:txBody>
      </p:sp>
      <p:sp>
        <p:nvSpPr>
          <p:cNvPr id="4" name="Espace réservé de l'image des diapositives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341ACD-46F5-4839-B342-64E53CE8A865}" type="slidenum">
              <a:rPr lang="fr-FR" smtClean="0"/>
              <a:t>‹N°›</a:t>
            </a:fld>
            <a:endParaRPr lang="fr-FR"/>
          </a:p>
        </p:txBody>
      </p:sp>
    </p:spTree>
    <p:extLst>
      <p:ext uri="{BB962C8B-B14F-4D97-AF65-F5344CB8AC3E}">
        <p14:creationId xmlns:p14="http://schemas.microsoft.com/office/powerpoint/2010/main" val="1465941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marR="0" lvl="0" indent="-342900" algn="just" defTabSz="914400" rtl="0" eaLnBrk="1" fontAlgn="base" latinLnBrk="0" hangingPunct="1">
              <a:lnSpc>
                <a:spcPct val="90000"/>
              </a:lnSpc>
              <a:spcBef>
                <a:spcPct val="50000"/>
              </a:spcBef>
              <a:spcAft>
                <a:spcPct val="0"/>
              </a:spcAft>
              <a:buClr>
                <a:srgbClr val="C2B477"/>
              </a:buClr>
              <a:buSzTx/>
              <a:buFontTx/>
              <a:buNone/>
              <a:tabLst/>
              <a:defRPr/>
            </a:pPr>
            <a:r>
              <a:rPr lang="fr-FR" sz="2400" kern="0" baseline="0" dirty="0">
                <a:solidFill>
                  <a:srgbClr val="0094D5"/>
                </a:solidFill>
                <a:latin typeface="Calibri" pitchFamily="34" charset="0"/>
              </a:rPr>
              <a:t>La filière recyclée émet 3,6 fois moins que la filière classique, principalement pour deux raisons :</a:t>
            </a:r>
            <a:endParaRPr lang="fr-FR" sz="2400" baseline="0" dirty="0">
              <a:solidFill>
                <a:schemeClr val="tx1">
                  <a:lumMod val="65000"/>
                  <a:lumOff val="35000"/>
                </a:schemeClr>
              </a:solidFill>
              <a:latin typeface="Calibri" pitchFamily="34" charset="0"/>
            </a:endParaRPr>
          </a:p>
          <a:p>
            <a:pPr marL="742950" lvl="1" indent="-285750">
              <a:lnSpc>
                <a:spcPct val="90000"/>
              </a:lnSpc>
              <a:spcBef>
                <a:spcPts val="1800"/>
              </a:spcBef>
              <a:buClr>
                <a:srgbClr val="0094D5"/>
              </a:buClr>
              <a:buSzPct val="80000"/>
              <a:buFont typeface="Wingdings" pitchFamily="2" charset="2"/>
              <a:buChar char="n"/>
              <a:defRPr/>
            </a:pPr>
            <a:r>
              <a:rPr lang="fr-FR" sz="2400" baseline="0" dirty="0">
                <a:solidFill>
                  <a:schemeClr val="tx1">
                    <a:lumMod val="65000"/>
                    <a:lumOff val="35000"/>
                  </a:schemeClr>
                </a:solidFill>
                <a:latin typeface="Calibri" pitchFamily="34" charset="0"/>
              </a:rPr>
              <a:t>La quantité d’énergie (électrique) pour la formation des éponges de titane par le procédé Kroll est prépondérante. Or cette étape est par principe présente dans une moindre mesure dans la filière recyclage.</a:t>
            </a:r>
          </a:p>
          <a:p>
            <a:pPr marL="742950" lvl="1" indent="-285750">
              <a:lnSpc>
                <a:spcPct val="90000"/>
              </a:lnSpc>
              <a:spcBef>
                <a:spcPts val="1800"/>
              </a:spcBef>
              <a:buClr>
                <a:srgbClr val="0094D5"/>
              </a:buClr>
              <a:buSzPct val="80000"/>
              <a:buFont typeface="Wingdings" pitchFamily="2" charset="2"/>
              <a:buChar char="n"/>
              <a:defRPr/>
            </a:pPr>
            <a:r>
              <a:rPr lang="fr-FR" sz="2400" baseline="0" dirty="0">
                <a:solidFill>
                  <a:schemeClr val="tx1">
                    <a:lumMod val="65000"/>
                    <a:lumOff val="35000"/>
                  </a:schemeClr>
                </a:solidFill>
                <a:latin typeface="Calibri" pitchFamily="34" charset="0"/>
              </a:rPr>
              <a:t> L’énergie électrique consommée pour les fusions n’a pas le même contenu carbone pour les deux filières puisque pour l’une, elle est consommée au Kazakhstan, pour l’autre en France. </a:t>
            </a:r>
          </a:p>
          <a:p>
            <a:endParaRPr lang="fr-FR" dirty="0"/>
          </a:p>
        </p:txBody>
      </p:sp>
      <p:sp>
        <p:nvSpPr>
          <p:cNvPr id="4" name="Espace réservé du numéro de diapositive 3"/>
          <p:cNvSpPr>
            <a:spLocks noGrp="1"/>
          </p:cNvSpPr>
          <p:nvPr>
            <p:ph type="sldNum" sz="quarter" idx="5"/>
          </p:nvPr>
        </p:nvSpPr>
        <p:spPr/>
        <p:txBody>
          <a:bodyPr/>
          <a:lstStyle/>
          <a:p>
            <a:fld id="{0D341ACD-46F5-4839-B342-64E53CE8A865}" type="slidenum">
              <a:rPr lang="fr-FR" smtClean="0"/>
              <a:t>18</a:t>
            </a:fld>
            <a:endParaRPr lang="fr-FR"/>
          </a:p>
        </p:txBody>
      </p:sp>
    </p:spTree>
    <p:extLst>
      <p:ext uri="{BB962C8B-B14F-4D97-AF65-F5344CB8AC3E}">
        <p14:creationId xmlns:p14="http://schemas.microsoft.com/office/powerpoint/2010/main" val="1877880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25.png"/><Relationship Id="rId4" Type="http://schemas.openxmlformats.org/officeDocument/2006/relationships/image" Target="../media/image16.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26.jpeg"/><Relationship Id="rId4" Type="http://schemas.openxmlformats.org/officeDocument/2006/relationships/image" Target="../media/image17.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26.jpeg"/><Relationship Id="rId4" Type="http://schemas.openxmlformats.org/officeDocument/2006/relationships/image" Target="../media/image17.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25.png"/><Relationship Id="rId4" Type="http://schemas.openxmlformats.org/officeDocument/2006/relationships/image" Target="../media/image16.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25.png"/><Relationship Id="rId4" Type="http://schemas.openxmlformats.org/officeDocument/2006/relationships/image" Target="../media/image16.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26.jpeg"/><Relationship Id="rId4" Type="http://schemas.openxmlformats.org/officeDocument/2006/relationships/image" Target="../media/image17.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26.jpeg"/><Relationship Id="rId4" Type="http://schemas.openxmlformats.org/officeDocument/2006/relationships/image" Target="../media/image17.png"/></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9.jpeg"/><Relationship Id="rId4" Type="http://schemas.openxmlformats.org/officeDocument/2006/relationships/image" Target="../media/image8.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3.xml"/><Relationship Id="rId5" Type="http://schemas.openxmlformats.org/officeDocument/2006/relationships/image" Target="../media/image25.png"/><Relationship Id="rId4" Type="http://schemas.openxmlformats.org/officeDocument/2006/relationships/image" Target="../media/image26.jpe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26.jpe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6.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6.jpe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6.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6.jpe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25.png"/><Relationship Id="rId4" Type="http://schemas.openxmlformats.org/officeDocument/2006/relationships/image" Target="../media/image16.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25.png"/><Relationship Id="rId4" Type="http://schemas.openxmlformats.org/officeDocument/2006/relationships/image" Target="../media/image16.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4.xml"/><Relationship Id="rId5" Type="http://schemas.openxmlformats.org/officeDocument/2006/relationships/image" Target="../media/image26.jpeg"/><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4.xml"/><Relationship Id="rId5" Type="http://schemas.openxmlformats.org/officeDocument/2006/relationships/image" Target="../media/image26.jpeg"/><Relationship Id="rId4" Type="http://schemas.openxmlformats.org/officeDocument/2006/relationships/image" Target="../media/image17.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5565375" y="494312"/>
            <a:ext cx="3063050" cy="1260000"/>
          </a:xfrm>
          <a:prstGeom prst="rect">
            <a:avLst/>
          </a:prstGeom>
        </p:spPr>
      </p:pic>
    </p:spTree>
    <p:extLst>
      <p:ext uri="{BB962C8B-B14F-4D97-AF65-F5344CB8AC3E}">
        <p14:creationId xmlns:p14="http://schemas.microsoft.com/office/powerpoint/2010/main" val="36886887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5564287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0930739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11510256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057366"/>
            <a:ext cx="2016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a:xfrm>
            <a:off x="862088" y="6192682"/>
            <a:ext cx="3420000" cy="440684"/>
          </a:xfrm>
        </p:spPr>
        <p:txBody>
          <a:bodyPr/>
          <a:lstStyle/>
          <a:p>
            <a:pPr algn="l"/>
            <a:r>
              <a:rPr lang="fr-FR"/>
              <a:t>Titre de la présentation - 00/00/00</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1886197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dirty="0"/>
              <a:t>Titre de la présentation - 00/00/00</a:t>
            </a:r>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5330138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Titre de la présentation - 00/00/00</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20788648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7285603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Titre de la présentation - 00/00/00</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8802443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15740791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8594051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Titre de la présentation - 00/00/00</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6262580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9978308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9233622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8" name="Imag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054396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9B0210AC-A5F0-4839-B753-5EDD81623C3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94447" y="2294995"/>
            <a:ext cx="1800000" cy="207468"/>
          </a:xfrm>
          <a:prstGeom prst="rect">
            <a:avLst/>
          </a:prstGeom>
        </p:spPr>
      </p:pic>
    </p:spTree>
    <p:extLst>
      <p:ext uri="{BB962C8B-B14F-4D97-AF65-F5344CB8AC3E}">
        <p14:creationId xmlns:p14="http://schemas.microsoft.com/office/powerpoint/2010/main" val="42938101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sp>
        <p:nvSpPr>
          <p:cNvPr id="16"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8" name="Image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49124716-8510-4CF5-AFBC-5DC8E3F63C5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94447" y="2294995"/>
            <a:ext cx="1800000" cy="207468"/>
          </a:xfrm>
          <a:prstGeom prst="rect">
            <a:avLst/>
          </a:prstGeom>
        </p:spPr>
      </p:pic>
    </p:spTree>
    <p:extLst>
      <p:ext uri="{BB962C8B-B14F-4D97-AF65-F5344CB8AC3E}">
        <p14:creationId xmlns:p14="http://schemas.microsoft.com/office/powerpoint/2010/main" val="18720809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13" name="Groupe 12"/>
          <p:cNvGrpSpPr/>
          <p:nvPr/>
        </p:nvGrpSpPr>
        <p:grpSpPr>
          <a:xfrm>
            <a:off x="2521881" y="2559571"/>
            <a:ext cx="4100238" cy="900000"/>
            <a:chOff x="3580474" y="2559571"/>
            <a:chExt cx="4100238" cy="900000"/>
          </a:xfrm>
        </p:grpSpPr>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4" y="2559571"/>
              <a:ext cx="1983052" cy="900000"/>
            </a:xfrm>
            <a:prstGeom prst="rect">
              <a:avLst/>
            </a:prstGeom>
          </p:spPr>
        </p:pic>
        <p:pic>
          <p:nvPicPr>
            <p:cNvPr id="15" name="Image 1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0712" y="2643635"/>
              <a:ext cx="1980000" cy="731871"/>
            </a:xfrm>
            <a:prstGeom prst="rect">
              <a:avLst/>
            </a:prstGeom>
          </p:spPr>
        </p:pic>
      </p:gr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632746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grpSp>
        <p:nvGrpSpPr>
          <p:cNvPr id="14" name="Groupe 13"/>
          <p:cNvGrpSpPr/>
          <p:nvPr/>
        </p:nvGrpSpPr>
        <p:grpSpPr>
          <a:xfrm>
            <a:off x="2521881" y="2559571"/>
            <a:ext cx="4100238" cy="900000"/>
            <a:chOff x="3580474" y="2559571"/>
            <a:chExt cx="4100238" cy="900000"/>
          </a:xfrm>
        </p:grpSpPr>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4" y="2559571"/>
              <a:ext cx="1983052" cy="900000"/>
            </a:xfrm>
            <a:prstGeom prst="rect">
              <a:avLst/>
            </a:prstGeom>
          </p:spPr>
        </p:pic>
        <p:pic>
          <p:nvPicPr>
            <p:cNvPr id="17" name="Imag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0712" y="2643635"/>
              <a:ext cx="1980000" cy="731871"/>
            </a:xfrm>
            <a:prstGeom prst="rect">
              <a:avLst/>
            </a:prstGeom>
          </p:spPr>
        </p:pic>
      </p:gr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9323459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21031" y="2556656"/>
            <a:ext cx="1983050" cy="900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26787DF7-B9EC-4835-A64B-898D5D0F24C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07151" y="2893807"/>
            <a:ext cx="1800000" cy="207468"/>
          </a:xfrm>
          <a:prstGeom prst="rect">
            <a:avLst/>
          </a:prstGeom>
        </p:spPr>
      </p:pic>
    </p:spTree>
    <p:extLst>
      <p:ext uri="{BB962C8B-B14F-4D97-AF65-F5344CB8AC3E}">
        <p14:creationId xmlns:p14="http://schemas.microsoft.com/office/powerpoint/2010/main" val="41301515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21031" y="2556656"/>
            <a:ext cx="1983050" cy="900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AC740C30-FCF6-4716-A2BB-9B08FAB5A54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07151" y="2893807"/>
            <a:ext cx="1800000" cy="207468"/>
          </a:xfrm>
          <a:prstGeom prst="rect">
            <a:avLst/>
          </a:prstGeom>
        </p:spPr>
      </p:pic>
    </p:spTree>
    <p:extLst>
      <p:ext uri="{BB962C8B-B14F-4D97-AF65-F5344CB8AC3E}">
        <p14:creationId xmlns:p14="http://schemas.microsoft.com/office/powerpoint/2010/main" val="99143248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015B02BA-9FB0-49D4-8BE0-0FB75166CED2}"/>
              </a:ext>
            </a:extLst>
          </p:cNvPr>
          <p:cNvGraphicFramePr>
            <a:graphicFrameLocks noChangeAspect="1"/>
          </p:cNvGraphicFramePr>
          <p:nvPr>
            <p:custDataLst>
              <p:tags r:id="rId2"/>
            </p:custDataLst>
            <p:extLst>
              <p:ext uri="{D42A27DB-BD31-4B8C-83A1-F6EECF244321}">
                <p14:modId xmlns:p14="http://schemas.microsoft.com/office/powerpoint/2010/main" val="85545893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7170" name="Diapositive think-cell" r:id="rId4" imgW="395" imgH="396" progId="TCLayout.ActiveDocument.1">
                  <p:embed/>
                </p:oleObj>
              </mc:Choice>
              <mc:Fallback>
                <p:oleObj name="Diapositive think-cell" r:id="rId4" imgW="395" imgH="396" progId="TCLayout.ActiveDocument.1">
                  <p:embed/>
                  <p:pic>
                    <p:nvPicPr>
                      <p:cNvPr id="7" name="Objet 6" hidden="1">
                        <a:extLst>
                          <a:ext uri="{FF2B5EF4-FFF2-40B4-BE49-F238E27FC236}">
                            <a16:creationId xmlns:a16="http://schemas.microsoft.com/office/drawing/2014/main" id="{015B02BA-9FB0-49D4-8BE0-0FB75166CED2}"/>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182357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EAADE8E3-FA1E-4887-AE6E-2C7C904EAC11}"/>
              </a:ext>
            </a:extLst>
          </p:cNvPr>
          <p:cNvGraphicFramePr>
            <a:graphicFrameLocks noChangeAspect="1"/>
          </p:cNvGraphicFramePr>
          <p:nvPr>
            <p:custDataLst>
              <p:tags r:id="rId2"/>
            </p:custDataLst>
            <p:extLst>
              <p:ext uri="{D42A27DB-BD31-4B8C-83A1-F6EECF244321}">
                <p14:modId xmlns:p14="http://schemas.microsoft.com/office/powerpoint/2010/main" val="8550655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8194" name="Diapositive think-cell" r:id="rId4" imgW="395" imgH="396" progId="TCLayout.ActiveDocument.1">
                  <p:embed/>
                </p:oleObj>
              </mc:Choice>
              <mc:Fallback>
                <p:oleObj name="Diapositive think-cell" r:id="rId4" imgW="395" imgH="396" progId="TCLayout.ActiveDocument.1">
                  <p:embed/>
                  <p:pic>
                    <p:nvPicPr>
                      <p:cNvPr id="7" name="Objet 6" hidden="1">
                        <a:extLst>
                          <a:ext uri="{FF2B5EF4-FFF2-40B4-BE49-F238E27FC236}">
                            <a16:creationId xmlns:a16="http://schemas.microsoft.com/office/drawing/2014/main" id="{EAADE8E3-FA1E-4887-AE6E-2C7C904EAC11}"/>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7979909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2964395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6488027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p:txBody>
          <a:bodyPr/>
          <a:lstStyle/>
          <a:p>
            <a:pPr algn="l"/>
            <a:r>
              <a:rPr lang="fr-FR"/>
              <a:t>Titre de la présentation - 00/00/00</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3136665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dirty="0"/>
              <a:t>Titre de la présentation - 00/00/00</a:t>
            </a:r>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3302820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Titre de la présentation - 00/00/00</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16617235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Cliquez pour 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626214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Titre de la présentation - 00/00/00</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39160822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3774194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5565375" y="494312"/>
            <a:ext cx="3063050" cy="1260000"/>
          </a:xfrm>
          <a:prstGeom prst="rect">
            <a:avLst/>
          </a:prstGeom>
        </p:spPr>
      </p:pic>
    </p:spTree>
    <p:extLst>
      <p:ext uri="{BB962C8B-B14F-4D97-AF65-F5344CB8AC3E}">
        <p14:creationId xmlns:p14="http://schemas.microsoft.com/office/powerpoint/2010/main" val="35250888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747796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Titre de la présentation - 00/00/00</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1788907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85604" y="5542604"/>
            <a:ext cx="1925343" cy="791998"/>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0243588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85604" y="5542604"/>
            <a:ext cx="1925343" cy="791998"/>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8367584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85604" y="5542603"/>
            <a:ext cx="1925343" cy="7920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20508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85604" y="5542603"/>
            <a:ext cx="1925343" cy="792000"/>
          </a:xfrm>
          <a:prstGeom prst="rect">
            <a:avLst/>
          </a:prstGeom>
        </p:spPr>
      </p:pic>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9528881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0"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7807586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0"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720632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1"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2595515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1"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8862598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5565374" y="494312"/>
            <a:ext cx="3063051" cy="1260000"/>
          </a:xfrm>
          <a:prstGeom prst="rect">
            <a:avLst/>
          </a:prstGeom>
        </p:spPr>
      </p:pic>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Tree>
    <p:extLst>
      <p:ext uri="{BB962C8B-B14F-4D97-AF65-F5344CB8AC3E}">
        <p14:creationId xmlns:p14="http://schemas.microsoft.com/office/powerpoint/2010/main" val="3432610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POWER_USER_LAYOUT_DIVIDER">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5A3C89B-38DE-458D-A8F5-923F7FF5B3DC}"/>
              </a:ext>
            </a:extLst>
          </p:cNvPr>
          <p:cNvGraphicFramePr>
            <a:graphicFrameLocks noChangeAspect="1"/>
          </p:cNvGraphicFramePr>
          <p:nvPr>
            <p:custDataLst>
              <p:tags r:id="rId2"/>
            </p:custDataLst>
            <p:extLst>
              <p:ext uri="{D42A27DB-BD31-4B8C-83A1-F6EECF244321}">
                <p14:modId xmlns:p14="http://schemas.microsoft.com/office/powerpoint/2010/main" val="7463706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50" name="Diapositive think-cell" r:id="rId4" imgW="395" imgH="396" progId="TCLayout.ActiveDocument.1">
                  <p:embed/>
                </p:oleObj>
              </mc:Choice>
              <mc:Fallback>
                <p:oleObj name="Diapositive think-cell" r:id="rId4" imgW="395" imgH="396" progId="TCLayout.ActiveDocument.1">
                  <p:embed/>
                  <p:pic>
                    <p:nvPicPr>
                      <p:cNvPr id="4" name="Objet 3" hidden="1">
                        <a:extLst>
                          <a:ext uri="{FF2B5EF4-FFF2-40B4-BE49-F238E27FC236}">
                            <a16:creationId xmlns:a16="http://schemas.microsoft.com/office/drawing/2014/main" id="{15A3C89B-38DE-458D-A8F5-923F7FF5B3DC}"/>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851683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5" name="Imag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grpSp>
        <p:nvGrpSpPr>
          <p:cNvPr id="56" name="Groupe 55"/>
          <p:cNvGrpSpPr/>
          <p:nvPr/>
        </p:nvGrpSpPr>
        <p:grpSpPr>
          <a:xfrm>
            <a:off x="9363035" y="28361"/>
            <a:ext cx="4214248" cy="1943442"/>
            <a:chOff x="9363034" y="28361"/>
            <a:chExt cx="4214248" cy="1943442"/>
          </a:xfrm>
        </p:grpSpPr>
        <p:sp>
          <p:nvSpPr>
            <p:cNvPr id="57"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8"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9"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0"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1"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2"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3"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4"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5"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6"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7"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8"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9"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0"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1"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2"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3"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4"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5"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6"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7"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8"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9"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0"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1"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2"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3"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1"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2"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3"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4"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5"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6"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7"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8"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5360986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9589920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7"/>
            <a:ext cx="1983050" cy="899999"/>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8574745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7"/>
            <a:ext cx="1983050" cy="899999"/>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416202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14749666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5468" y="6239979"/>
            <a:ext cx="827998" cy="37578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643331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5468" y="6239979"/>
            <a:ext cx="827998" cy="37578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0902242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9363035" y="28361"/>
            <a:ext cx="4214248"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29320530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9363035" y="28361"/>
            <a:ext cx="4214248"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820833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674562" y="6067424"/>
            <a:ext cx="1176088" cy="483789"/>
          </a:xfrm>
          <a:prstGeom prst="rect">
            <a:avLst/>
          </a:prstGeom>
        </p:spPr>
      </p:pic>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53" name="Image 52">
            <a:extLst>
              <a:ext uri="{FF2B5EF4-FFF2-40B4-BE49-F238E27FC236}">
                <a16:creationId xmlns:a16="http://schemas.microsoft.com/office/drawing/2014/main" id="{C43FF63E-3DC7-4135-AC43-6EF68FE26B5D}"/>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842706" y="498458"/>
            <a:ext cx="1831856" cy="740801"/>
          </a:xfrm>
          <a:prstGeom prst="rect">
            <a:avLst/>
          </a:prstGeom>
        </p:spPr>
      </p:pic>
      <p:pic>
        <p:nvPicPr>
          <p:cNvPr id="54" name="Image 53">
            <a:extLst>
              <a:ext uri="{FF2B5EF4-FFF2-40B4-BE49-F238E27FC236}">
                <a16:creationId xmlns:a16="http://schemas.microsoft.com/office/drawing/2014/main" id="{7D8AD1AB-B86C-4731-BB2B-4BE3AB30CBE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91450" y="606393"/>
            <a:ext cx="1059200" cy="524933"/>
          </a:xfrm>
          <a:prstGeom prst="rect">
            <a:avLst/>
          </a:prstGeom>
        </p:spPr>
      </p:pic>
    </p:spTree>
    <p:extLst>
      <p:ext uri="{BB962C8B-B14F-4D97-AF65-F5344CB8AC3E}">
        <p14:creationId xmlns:p14="http://schemas.microsoft.com/office/powerpoint/2010/main" val="33016098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2093474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2231599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73197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1048610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057366"/>
            <a:ext cx="2016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a:xfrm>
            <a:off x="862088" y="6192682"/>
            <a:ext cx="3420000" cy="440684"/>
          </a:xfrm>
        </p:spPr>
        <p:txBody>
          <a:bodyPr/>
          <a:lstStyle/>
          <a:p>
            <a:pPr algn="l"/>
            <a:r>
              <a:rPr lang="fr-FR"/>
              <a:t>Titre de la présentation - 00/00/00</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1426551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dirty="0"/>
              <a:t>Titre de la présentation - 00/00/00</a:t>
            </a:r>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9553553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Titre de la présentation - 00/00/00</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4547416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487518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Titre de la présentation - 00/00/00</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4257655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7687106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31846723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461116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Titre de la présentation - 00/00/00</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8056776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4" name="Imag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95339" y="5981782"/>
            <a:ext cx="1427796" cy="648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1223238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5339" y="5981782"/>
            <a:ext cx="1427796" cy="648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913777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5339" y="5981784"/>
            <a:ext cx="1427796" cy="647999"/>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660353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5339" y="5981784"/>
            <a:ext cx="1427796" cy="647999"/>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5343429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3" name="Imag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5" y="2559571"/>
            <a:ext cx="1983052" cy="900000"/>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7985395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5" y="2559571"/>
            <a:ext cx="1983052" cy="900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15618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6" y="2559571"/>
            <a:ext cx="1983050" cy="900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2702238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6" y="2559571"/>
            <a:ext cx="1983050" cy="900000"/>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621021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Tree>
    <p:extLst>
      <p:ext uri="{BB962C8B-B14F-4D97-AF65-F5344CB8AC3E}">
        <p14:creationId xmlns:p14="http://schemas.microsoft.com/office/powerpoint/2010/main" val="22999457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7362" y="1251808"/>
            <a:ext cx="1980000" cy="731871"/>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704282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7362" y="1251808"/>
            <a:ext cx="1980000" cy="731871"/>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0068400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62069181-D8AE-4CBD-A6F6-430CFA93BA0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65305" y="1365235"/>
            <a:ext cx="1800000" cy="207468"/>
          </a:xfrm>
          <a:prstGeom prst="rect">
            <a:avLst/>
          </a:prstGeom>
        </p:spPr>
      </p:pic>
      <p:pic>
        <p:nvPicPr>
          <p:cNvPr id="55" name="Image 54">
            <a:extLst>
              <a:ext uri="{FF2B5EF4-FFF2-40B4-BE49-F238E27FC236}">
                <a16:creationId xmlns:a16="http://schemas.microsoft.com/office/drawing/2014/main" id="{F3724178-D490-440A-9DEF-9FE45DA0DA7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69552" y="1065594"/>
            <a:ext cx="1980000" cy="731871"/>
          </a:xfrm>
          <a:prstGeom prst="rect">
            <a:avLst/>
          </a:prstGeom>
        </p:spPr>
      </p:pic>
    </p:spTree>
    <p:extLst>
      <p:ext uri="{BB962C8B-B14F-4D97-AF65-F5344CB8AC3E}">
        <p14:creationId xmlns:p14="http://schemas.microsoft.com/office/powerpoint/2010/main" val="23299267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90398E00-5AEB-4025-8C01-F854C1086A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65305" y="1365235"/>
            <a:ext cx="1800000" cy="207468"/>
          </a:xfrm>
          <a:prstGeom prst="rect">
            <a:avLst/>
          </a:prstGeom>
        </p:spPr>
      </p:pic>
    </p:spTree>
    <p:extLst>
      <p:ext uri="{BB962C8B-B14F-4D97-AF65-F5344CB8AC3E}">
        <p14:creationId xmlns:p14="http://schemas.microsoft.com/office/powerpoint/2010/main" val="28143473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42614201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46748" y="6317297"/>
            <a:ext cx="1218920" cy="450551"/>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808690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46748" y="6317297"/>
            <a:ext cx="1218920" cy="450551"/>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7611885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9363035" y="28361"/>
            <a:ext cx="4214248"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2043545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9363035" y="28361"/>
            <a:ext cx="4214248"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82478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989728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895511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41735553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7092819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7146413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057366"/>
            <a:ext cx="2016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a:xfrm>
            <a:off x="862088" y="6192682"/>
            <a:ext cx="3420000" cy="440684"/>
          </a:xfrm>
        </p:spPr>
        <p:txBody>
          <a:bodyPr/>
          <a:lstStyle/>
          <a:p>
            <a:pPr algn="l"/>
            <a:r>
              <a:rPr lang="fr-FR"/>
              <a:t>Titre de la présentation - 00/00/00</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2653594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dirty="0"/>
              <a:t>Titre de la présentation - 00/00/00</a:t>
            </a:r>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2192816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Titre de la présentation - 00/00/00</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20050561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6783553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Titre de la présentation - 00/00/00</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13447290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18727761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Titre de la présentation - 00/00/00</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3843414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0170676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Titre de la présentation - 00/00/00</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4344833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326723" y="5803168"/>
            <a:ext cx="1295233" cy="532800"/>
          </a:xfrm>
          <a:prstGeom prst="rect">
            <a:avLst/>
          </a:prstGeom>
        </p:spPr>
      </p:pic>
      <p:pic>
        <p:nvPicPr>
          <p:cNvPr id="10" name="Imag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64088" y="5920765"/>
            <a:ext cx="1694666" cy="6264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742216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7" name="Imag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326723" y="5803168"/>
            <a:ext cx="1295233" cy="532800"/>
          </a:xfrm>
          <a:prstGeom prst="rect">
            <a:avLst/>
          </a:prstGeom>
        </p:spPr>
      </p:pic>
      <p:pic>
        <p:nvPicPr>
          <p:cNvPr id="12" name="Imag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4088" y="5920765"/>
            <a:ext cx="1694666" cy="6264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00384294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7" name="Imag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326722" y="5803168"/>
            <a:ext cx="1295232" cy="5328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D7EDCD78-5E27-431E-AB4C-CC83D7AE29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6443" y="6128500"/>
            <a:ext cx="1800000" cy="207468"/>
          </a:xfrm>
          <a:prstGeom prst="rect">
            <a:avLst/>
          </a:prstGeom>
        </p:spPr>
      </p:pic>
    </p:spTree>
    <p:extLst>
      <p:ext uri="{BB962C8B-B14F-4D97-AF65-F5344CB8AC3E}">
        <p14:creationId xmlns:p14="http://schemas.microsoft.com/office/powerpoint/2010/main" val="12478876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7" name="Imag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326722" y="5803168"/>
            <a:ext cx="1295232" cy="5328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AD8DC4AA-C0B2-4413-B1DC-3F8C9B4BE0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6443" y="6128500"/>
            <a:ext cx="1800000" cy="207468"/>
          </a:xfrm>
          <a:prstGeom prst="rect">
            <a:avLst/>
          </a:prstGeom>
        </p:spPr>
      </p:pic>
    </p:spTree>
    <p:extLst>
      <p:ext uri="{BB962C8B-B14F-4D97-AF65-F5344CB8AC3E}">
        <p14:creationId xmlns:p14="http://schemas.microsoft.com/office/powerpoint/2010/main" val="1800899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0" name="Imag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2000" y="2958686"/>
            <a:ext cx="1980000" cy="731869"/>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689796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2000" y="2958686"/>
            <a:ext cx="1980000" cy="731869"/>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058974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2" name="Image 51">
            <a:extLst>
              <a:ext uri="{FF2B5EF4-FFF2-40B4-BE49-F238E27FC236}">
                <a16:creationId xmlns:a16="http://schemas.microsoft.com/office/drawing/2014/main" id="{4EA6D5CB-F8DB-4836-8186-9AC238DF42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71999" y="2756118"/>
            <a:ext cx="1800000" cy="207468"/>
          </a:xfrm>
          <a:prstGeom prst="rect">
            <a:avLst/>
          </a:prstGeom>
        </p:spPr>
      </p:pic>
    </p:spTree>
    <p:extLst>
      <p:ext uri="{BB962C8B-B14F-4D97-AF65-F5344CB8AC3E}">
        <p14:creationId xmlns:p14="http://schemas.microsoft.com/office/powerpoint/2010/main" val="40795757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2" name="Image 51">
            <a:extLst>
              <a:ext uri="{FF2B5EF4-FFF2-40B4-BE49-F238E27FC236}">
                <a16:creationId xmlns:a16="http://schemas.microsoft.com/office/drawing/2014/main" id="{BF4D347A-9581-4385-99CA-424B0A05193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71999" y="2756118"/>
            <a:ext cx="1800000" cy="207468"/>
          </a:xfrm>
          <a:prstGeom prst="rect">
            <a:avLst/>
          </a:prstGeom>
        </p:spPr>
      </p:pic>
    </p:spTree>
    <p:extLst>
      <p:ext uri="{BB962C8B-B14F-4D97-AF65-F5344CB8AC3E}">
        <p14:creationId xmlns:p14="http://schemas.microsoft.com/office/powerpoint/2010/main" val="38157160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8" name="Imag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747160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064476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8" name="Imag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481016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72972914-0DFD-4133-9602-75B075C2562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48342" y="2294995"/>
            <a:ext cx="1800000" cy="207468"/>
          </a:xfrm>
          <a:prstGeom prst="rect">
            <a:avLst/>
          </a:prstGeom>
        </p:spPr>
      </p:pic>
    </p:spTree>
    <p:extLst>
      <p:ext uri="{BB962C8B-B14F-4D97-AF65-F5344CB8AC3E}">
        <p14:creationId xmlns:p14="http://schemas.microsoft.com/office/powerpoint/2010/main" val="199125438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7"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8" name="Image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3A30F8F0-C8DF-447F-BC7D-39E767FF88F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39868" y="2294995"/>
            <a:ext cx="1800000" cy="207468"/>
          </a:xfrm>
          <a:prstGeom prst="rect">
            <a:avLst/>
          </a:prstGeom>
        </p:spPr>
      </p:pic>
    </p:spTree>
    <p:extLst>
      <p:ext uri="{BB962C8B-B14F-4D97-AF65-F5344CB8AC3E}">
        <p14:creationId xmlns:p14="http://schemas.microsoft.com/office/powerpoint/2010/main" val="26863264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26581978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6137934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2768585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9363035" y="28361"/>
            <a:ext cx="4214248"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2548039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9363035" y="28361"/>
            <a:ext cx="4214248"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7140059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1940027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Titre de la présentation - 00/00/00</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738115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image" Target="../media/image1.emf"/><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oleObject" Target="../embeddings/oleObject3.bin"/><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tags" Target="../tags/tag4.xml"/><Relationship Id="rId37" Type="http://schemas.openxmlformats.org/officeDocument/2006/relationships/image" Target="../media/image3.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image" Target="../media/image15.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vmlDrawing" Target="../drawings/vmlDrawing3.v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theme" Target="../theme/theme2.xml"/><Relationship Id="rId35"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image" Target="../media/image1.emf"/><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oleObject" Target="../embeddings/oleObject4.bin"/><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tags" Target="../tags/tag5.xml"/><Relationship Id="rId37" Type="http://schemas.openxmlformats.org/officeDocument/2006/relationships/image" Target="../media/image3.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image" Target="../media/image24.jpeg"/><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vmlDrawing" Target="../drawings/vmlDrawing4.v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theme" Target="../theme/theme3.xml"/><Relationship Id="rId35"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34" Type="http://schemas.openxmlformats.org/officeDocument/2006/relationships/image" Target="../media/image1.emf"/><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oleObject" Target="../embeddings/oleObject5.bin"/><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tags" Target="../tags/tag6.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image" Target="../media/image3.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vmlDrawing" Target="../drawings/vmlDrawing5.v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theme" Target="../theme/theme4.xml"/><Relationship Id="rId35"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5.xml"/><Relationship Id="rId7" Type="http://schemas.openxmlformats.org/officeDocument/2006/relationships/oleObject" Target="../embeddings/oleObject6.bin"/><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16D30993-BAC2-430C-B6FE-F6F174AD5134}"/>
              </a:ext>
            </a:extLst>
          </p:cNvPr>
          <p:cNvGraphicFramePr>
            <a:graphicFrameLocks noChangeAspect="1"/>
          </p:cNvGraphicFramePr>
          <p:nvPr>
            <p:custDataLst>
              <p:tags r:id="rId33"/>
            </p:custDataLst>
            <p:extLst>
              <p:ext uri="{D42A27DB-BD31-4B8C-83A1-F6EECF244321}">
                <p14:modId xmlns:p14="http://schemas.microsoft.com/office/powerpoint/2010/main" val="40944761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6" name="Diapositive think-cell" r:id="rId34" imgW="395" imgH="396" progId="TCLayout.ActiveDocument.1">
                  <p:embed/>
                </p:oleObj>
              </mc:Choice>
              <mc:Fallback>
                <p:oleObj name="Diapositive think-cell" r:id="rId34" imgW="395" imgH="396" progId="TCLayout.ActiveDocument.1">
                  <p:embed/>
                  <p:pic>
                    <p:nvPicPr>
                      <p:cNvPr id="7" name="Objet 6" hidden="1">
                        <a:extLst>
                          <a:ext uri="{FF2B5EF4-FFF2-40B4-BE49-F238E27FC236}">
                            <a16:creationId xmlns:a16="http://schemas.microsoft.com/office/drawing/2014/main" id="{16D30993-BAC2-430C-B6FE-F6F174AD5134}"/>
                          </a:ext>
                        </a:extLst>
                      </p:cNvPr>
                      <p:cNvPicPr/>
                      <p:nvPr/>
                    </p:nvPicPr>
                    <p:blipFill>
                      <a:blip r:embed="rId35"/>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dirty="0"/>
              <a:t>Titre de la présentation - 00/00/00</a:t>
            </a:r>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spTree>
  </p:cSld>
  <p:clrMap bg1="lt1" tx1="dk1" bg2="lt2" tx2="dk2" accent1="accent1" accent2="accent2" accent3="accent3" accent4="accent4" accent5="accent5" accent6="accent6" hlink="hlink" folHlink="folHlink"/>
  <p:sldLayoutIdLst>
    <p:sldLayoutId id="2147483837" r:id="rId1"/>
    <p:sldLayoutId id="2147483838" r:id="rId2"/>
    <p:sldLayoutId id="2147483808" r:id="rId3"/>
    <p:sldLayoutId id="2147483852" r:id="rId4"/>
    <p:sldLayoutId id="2147483825" r:id="rId5"/>
    <p:sldLayoutId id="2147483840" r:id="rId6"/>
    <p:sldLayoutId id="2147483841" r:id="rId7"/>
    <p:sldLayoutId id="2147483839" r:id="rId8"/>
    <p:sldLayoutId id="2147483853" r:id="rId9"/>
    <p:sldLayoutId id="2147483849" r:id="rId10"/>
    <p:sldLayoutId id="2147483820" r:id="rId11"/>
    <p:sldLayoutId id="2147483850" r:id="rId12"/>
    <p:sldLayoutId id="2147483851" r:id="rId13"/>
    <p:sldLayoutId id="2147483826" r:id="rId14"/>
    <p:sldLayoutId id="2147483827" r:id="rId15"/>
    <p:sldLayoutId id="2147483828" r:id="rId16"/>
    <p:sldLayoutId id="2147483829" r:id="rId17"/>
    <p:sldLayoutId id="2147483830" r:id="rId18"/>
    <p:sldLayoutId id="2147483833" r:id="rId19"/>
    <p:sldLayoutId id="2147483842" r:id="rId20"/>
    <p:sldLayoutId id="2147483832" r:id="rId21"/>
    <p:sldLayoutId id="2147483843" r:id="rId22"/>
    <p:sldLayoutId id="2147483822" r:id="rId23"/>
    <p:sldLayoutId id="2147483821" r:id="rId24"/>
    <p:sldLayoutId id="2147483854" r:id="rId25"/>
    <p:sldLayoutId id="2147483846" r:id="rId26"/>
    <p:sldLayoutId id="2147483824" r:id="rId27"/>
    <p:sldLayoutId id="2147483823" r:id="rId28"/>
    <p:sldLayoutId id="2147483855" r:id="rId29"/>
    <p:sldLayoutId id="2147484000" r:id="rId30"/>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7"/>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AB43610B-BBC3-4BAD-B80C-4D1A06CAF7C5}"/>
              </a:ext>
            </a:extLst>
          </p:cNvPr>
          <p:cNvGraphicFramePr>
            <a:graphicFrameLocks noChangeAspect="1"/>
          </p:cNvGraphicFramePr>
          <p:nvPr>
            <p:custDataLst>
              <p:tags r:id="rId32"/>
            </p:custDataLst>
            <p:extLst>
              <p:ext uri="{D42A27DB-BD31-4B8C-83A1-F6EECF244321}">
                <p14:modId xmlns:p14="http://schemas.microsoft.com/office/powerpoint/2010/main" val="70414664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074" name="Diapositive think-cell" r:id="rId33" imgW="395" imgH="396" progId="TCLayout.ActiveDocument.1">
                  <p:embed/>
                </p:oleObj>
              </mc:Choice>
              <mc:Fallback>
                <p:oleObj name="Diapositive think-cell" r:id="rId33" imgW="395" imgH="396" progId="TCLayout.ActiveDocument.1">
                  <p:embed/>
                  <p:pic>
                    <p:nvPicPr>
                      <p:cNvPr id="8" name="Objet 7" hidden="1">
                        <a:extLst>
                          <a:ext uri="{FF2B5EF4-FFF2-40B4-BE49-F238E27FC236}">
                            <a16:creationId xmlns:a16="http://schemas.microsoft.com/office/drawing/2014/main" id="{AB43610B-BBC3-4BAD-B80C-4D1A06CAF7C5}"/>
                          </a:ext>
                        </a:extLst>
                      </p:cNvPr>
                      <p:cNvPicPr/>
                      <p:nvPr/>
                    </p:nvPicPr>
                    <p:blipFill>
                      <a:blip r:embed="rId34"/>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dirty="0"/>
              <a:t>Titre de la présentation - 00/00/00</a:t>
            </a:r>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pic>
        <p:nvPicPr>
          <p:cNvPr id="7" name="Image 6"/>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6615466" y="6239979"/>
            <a:ext cx="828000" cy="375784"/>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050052532"/>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7"/>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0E2700FA-226F-4EA7-B1C0-E3A242ABC76E}"/>
              </a:ext>
            </a:extLst>
          </p:cNvPr>
          <p:cNvGraphicFramePr>
            <a:graphicFrameLocks noChangeAspect="1"/>
          </p:cNvGraphicFramePr>
          <p:nvPr>
            <p:custDataLst>
              <p:tags r:id="rId32"/>
            </p:custDataLst>
            <p:extLst>
              <p:ext uri="{D42A27DB-BD31-4B8C-83A1-F6EECF244321}">
                <p14:modId xmlns:p14="http://schemas.microsoft.com/office/powerpoint/2010/main" val="50488775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098" name="Diapositive think-cell" r:id="rId33" imgW="395" imgH="396" progId="TCLayout.ActiveDocument.1">
                  <p:embed/>
                </p:oleObj>
              </mc:Choice>
              <mc:Fallback>
                <p:oleObj name="Diapositive think-cell" r:id="rId33" imgW="395" imgH="396" progId="TCLayout.ActiveDocument.1">
                  <p:embed/>
                  <p:pic>
                    <p:nvPicPr>
                      <p:cNvPr id="7" name="Objet 6" hidden="1">
                        <a:extLst>
                          <a:ext uri="{FF2B5EF4-FFF2-40B4-BE49-F238E27FC236}">
                            <a16:creationId xmlns:a16="http://schemas.microsoft.com/office/drawing/2014/main" id="{0E2700FA-226F-4EA7-B1C0-E3A242ABC76E}"/>
                          </a:ext>
                        </a:extLst>
                      </p:cNvPr>
                      <p:cNvPicPr/>
                      <p:nvPr/>
                    </p:nvPicPr>
                    <p:blipFill>
                      <a:blip r:embed="rId34"/>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dirty="0"/>
              <a:t>Titre de la présentation - 00/00/00</a:t>
            </a:r>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9" name="Image 8">
            <a:extLst>
              <a:ext uri="{FF2B5EF4-FFF2-40B4-BE49-F238E27FC236}">
                <a16:creationId xmlns:a16="http://schemas.microsoft.com/office/drawing/2014/main" id="{6BA34A67-5C2D-4CF4-909F-F58DAC196757}"/>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6413932" y="6466505"/>
            <a:ext cx="1240742" cy="143010"/>
          </a:xfrm>
          <a:prstGeom prst="rect">
            <a:avLst/>
          </a:prstGeom>
        </p:spPr>
      </p:pic>
    </p:spTree>
    <p:extLst>
      <p:ext uri="{BB962C8B-B14F-4D97-AF65-F5344CB8AC3E}">
        <p14:creationId xmlns:p14="http://schemas.microsoft.com/office/powerpoint/2010/main" val="3261836987"/>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7"/>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E8169567-916F-417F-9681-755FAB673A4E}"/>
              </a:ext>
            </a:extLst>
          </p:cNvPr>
          <p:cNvGraphicFramePr>
            <a:graphicFrameLocks noChangeAspect="1"/>
          </p:cNvGraphicFramePr>
          <p:nvPr>
            <p:custDataLst>
              <p:tags r:id="rId32"/>
            </p:custDataLst>
            <p:extLst>
              <p:ext uri="{D42A27DB-BD31-4B8C-83A1-F6EECF244321}">
                <p14:modId xmlns:p14="http://schemas.microsoft.com/office/powerpoint/2010/main" val="89168257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122" name="Diapositive think-cell" r:id="rId33" imgW="395" imgH="396" progId="TCLayout.ActiveDocument.1">
                  <p:embed/>
                </p:oleObj>
              </mc:Choice>
              <mc:Fallback>
                <p:oleObj name="Diapositive think-cell" r:id="rId33" imgW="395" imgH="396" progId="TCLayout.ActiveDocument.1">
                  <p:embed/>
                  <p:pic>
                    <p:nvPicPr>
                      <p:cNvPr id="7" name="Objet 6" hidden="1">
                        <a:extLst>
                          <a:ext uri="{FF2B5EF4-FFF2-40B4-BE49-F238E27FC236}">
                            <a16:creationId xmlns:a16="http://schemas.microsoft.com/office/drawing/2014/main" id="{E8169567-916F-417F-9681-755FAB673A4E}"/>
                          </a:ext>
                        </a:extLst>
                      </p:cNvPr>
                      <p:cNvPicPr/>
                      <p:nvPr/>
                    </p:nvPicPr>
                    <p:blipFill>
                      <a:blip r:embed="rId34"/>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dirty="0"/>
              <a:t>Titre de la présentation - 00/00/00</a:t>
            </a:r>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grpSp>
        <p:nvGrpSpPr>
          <p:cNvPr id="52" name="Groupe 51"/>
          <p:cNvGrpSpPr/>
          <p:nvPr/>
        </p:nvGrpSpPr>
        <p:grpSpPr>
          <a:xfrm>
            <a:off x="9363035" y="28361"/>
            <a:ext cx="4214248" cy="1943442"/>
            <a:chOff x="9363034" y="28361"/>
            <a:chExt cx="4214248" cy="1943442"/>
          </a:xfrm>
        </p:grpSpPr>
        <p:sp>
          <p:nvSpPr>
            <p:cNvPr id="5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5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6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7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8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3"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4"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44036514"/>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2AC7249B-B332-4307-A527-835617DEDFE8}"/>
              </a:ext>
            </a:extLst>
          </p:cNvPr>
          <p:cNvGraphicFramePr>
            <a:graphicFrameLocks noChangeAspect="1"/>
          </p:cNvGraphicFramePr>
          <p:nvPr>
            <p:custDataLst>
              <p:tags r:id="rId5"/>
            </p:custDataLst>
            <p:extLst>
              <p:ext uri="{D42A27DB-BD31-4B8C-83A1-F6EECF244321}">
                <p14:modId xmlns:p14="http://schemas.microsoft.com/office/powerpoint/2010/main" val="330306125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146" name="Diapositive think-cell" r:id="rId7" imgW="395" imgH="396" progId="TCLayout.ActiveDocument.1">
                  <p:embed/>
                </p:oleObj>
              </mc:Choice>
              <mc:Fallback>
                <p:oleObj name="Diapositive think-cell" r:id="rId7" imgW="395" imgH="396" progId="TCLayout.ActiveDocument.1">
                  <p:embed/>
                  <p:pic>
                    <p:nvPicPr>
                      <p:cNvPr id="8" name="Objet 7" hidden="1">
                        <a:extLst>
                          <a:ext uri="{FF2B5EF4-FFF2-40B4-BE49-F238E27FC236}">
                            <a16:creationId xmlns:a16="http://schemas.microsoft.com/office/drawing/2014/main" id="{2AC7249B-B332-4307-A527-835617DEDFE8}"/>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909DC04-8BE6-456A-92D4-895A2249A3E5}"/>
              </a:ext>
            </a:extLst>
          </p:cNvPr>
          <p:cNvSpPr/>
          <p:nvPr>
            <p:custDataLst>
              <p:tags r:id="rId6"/>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fr-FR" sz="4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4040922002"/>
      </p:ext>
    </p:extLst>
  </p:cSld>
  <p:clrMap bg1="lt1" tx1="dk1" bg2="lt2" tx2="dk2" accent1="accent1" accent2="accent2" accent3="accent3" accent4="accent4" accent5="accent5" accent6="accent6" hlink="hlink" folHlink="folHlink"/>
  <p:sldLayoutIdLst>
    <p:sldLayoutId id="2147484002" r:id="rId1"/>
    <p:sldLayoutId id="214748400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31.emf"/><Relationship Id="rId5" Type="http://schemas.openxmlformats.org/officeDocument/2006/relationships/oleObject" Target="../embeddings/oleObject15.bin"/><Relationship Id="rId4"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37.emf"/><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14.xml"/><Relationship Id="rId4" Type="http://schemas.openxmlformats.org/officeDocument/2006/relationships/tags" Target="../tags/tag24.xml"/></Relationships>
</file>

<file path=ppt/slides/_rels/slide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image" Target="../media/image37.emf"/><Relationship Id="rId5" Type="http://schemas.openxmlformats.org/officeDocument/2006/relationships/oleObject" Target="../embeddings/oleObject17.bin"/><Relationship Id="rId4"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40.png"/><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31.emf"/><Relationship Id="rId5" Type="http://schemas.openxmlformats.org/officeDocument/2006/relationships/oleObject" Target="../embeddings/oleObject18.bin"/><Relationship Id="rId4"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image" Target="../media/image31.emf"/><Relationship Id="rId5" Type="http://schemas.openxmlformats.org/officeDocument/2006/relationships/oleObject" Target="../embeddings/oleObject19.bin"/><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image" Target="../media/image42.png"/><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image" Target="../media/image41.png"/><Relationship Id="rId17" Type="http://schemas.openxmlformats.org/officeDocument/2006/relationships/image" Target="../media/image46.svg"/><Relationship Id="rId2" Type="http://schemas.openxmlformats.org/officeDocument/2006/relationships/tags" Target="../tags/tag31.xml"/><Relationship Id="rId16" Type="http://schemas.openxmlformats.org/officeDocument/2006/relationships/image" Target="../media/image45.png"/><Relationship Id="rId1" Type="http://schemas.openxmlformats.org/officeDocument/2006/relationships/vmlDrawing" Target="../drawings/vmlDrawing20.vml"/><Relationship Id="rId6" Type="http://schemas.openxmlformats.org/officeDocument/2006/relationships/tags" Target="../tags/tag35.xml"/><Relationship Id="rId11" Type="http://schemas.openxmlformats.org/officeDocument/2006/relationships/image" Target="../media/image37.emf"/><Relationship Id="rId5" Type="http://schemas.openxmlformats.org/officeDocument/2006/relationships/tags" Target="../tags/tag34.xml"/><Relationship Id="rId15" Type="http://schemas.openxmlformats.org/officeDocument/2006/relationships/image" Target="../media/image44.jpeg"/><Relationship Id="rId10" Type="http://schemas.openxmlformats.org/officeDocument/2006/relationships/oleObject" Target="../embeddings/oleObject20.bin"/><Relationship Id="rId4" Type="http://schemas.openxmlformats.org/officeDocument/2006/relationships/tags" Target="../tags/tag33.xml"/><Relationship Id="rId9" Type="http://schemas.openxmlformats.org/officeDocument/2006/relationships/slideLayout" Target="../slideLayouts/slideLayout14.xml"/><Relationship Id="rId14" Type="http://schemas.openxmlformats.org/officeDocument/2006/relationships/image" Target="../media/image4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8.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8.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31.emf"/><Relationship Id="rId5" Type="http://schemas.openxmlformats.org/officeDocument/2006/relationships/oleObject" Target="../embeddings/oleObject22.bin"/><Relationship Id="rId4" Type="http://schemas.openxmlformats.org/officeDocument/2006/relationships/notesSlide" Target="../notesSlides/notesSlide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3.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9.bin"/></Relationships>
</file>

<file path=ppt/slides/_rels/slide20.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7.png"/><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37.emf"/><Relationship Id="rId5" Type="http://schemas.openxmlformats.org/officeDocument/2006/relationships/oleObject" Target="../embeddings/oleObject23.bin"/><Relationship Id="rId4"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34.jpeg"/><Relationship Id="rId5" Type="http://schemas.openxmlformats.org/officeDocument/2006/relationships/image" Target="../media/image3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6.jpe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35.jpeg"/><Relationship Id="rId5" Type="http://schemas.openxmlformats.org/officeDocument/2006/relationships/image" Target="../media/image31.emf"/><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9.jpe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38.jpeg"/><Relationship Id="rId5" Type="http://schemas.openxmlformats.org/officeDocument/2006/relationships/image" Target="../media/image37.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13.bin"/><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slideLayout" Target="../slideLayouts/slideLayout14.xml"/><Relationship Id="rId5" Type="http://schemas.openxmlformats.org/officeDocument/2006/relationships/tags" Target="../tags/tag18.xml"/><Relationship Id="rId4" Type="http://schemas.openxmlformats.org/officeDocument/2006/relationships/tags" Target="../tags/tag1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31.emf"/><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7EB8D67F-E6DD-4502-8DEA-95DEB7F3CA36}"/>
              </a:ext>
            </a:extLst>
          </p:cNvPr>
          <p:cNvSpPr>
            <a:spLocks noGrp="1"/>
          </p:cNvSpPr>
          <p:nvPr>
            <p:ph type="subTitle" idx="1"/>
          </p:nvPr>
        </p:nvSpPr>
        <p:spPr/>
        <p:txBody>
          <a:bodyPr/>
          <a:lstStyle/>
          <a:p>
            <a:endParaRPr lang="fr-FR"/>
          </a:p>
        </p:txBody>
      </p:sp>
      <p:sp>
        <p:nvSpPr>
          <p:cNvPr id="3" name="Espace réservé de la date 2">
            <a:extLst>
              <a:ext uri="{FF2B5EF4-FFF2-40B4-BE49-F238E27FC236}">
                <a16:creationId xmlns:a16="http://schemas.microsoft.com/office/drawing/2014/main" id="{1B12631C-AC13-419C-B388-E8647D2D3BBF}"/>
              </a:ext>
            </a:extLst>
          </p:cNvPr>
          <p:cNvSpPr>
            <a:spLocks noGrp="1"/>
          </p:cNvSpPr>
          <p:nvPr>
            <p:ph type="dt" sz="half" idx="10"/>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69AE99A8-1E1D-41D3-8404-29605431B53F}"/>
              </a:ext>
            </a:extLst>
          </p:cNvPr>
          <p:cNvSpPr>
            <a:spLocks noGrp="1"/>
          </p:cNvSpPr>
          <p:nvPr>
            <p:ph type="ftr" sz="quarter" idx="11"/>
          </p:nvPr>
        </p:nvSpPr>
        <p:spPr/>
        <p:txBody>
          <a:bodyPr/>
          <a:lstStyle/>
          <a:p>
            <a:pPr algn="l"/>
            <a:r>
              <a:rPr lang="fr-FR"/>
              <a:t>Titre de la présentation - 00/00/00</a:t>
            </a:r>
            <a:endParaRPr lang="fr-FR" dirty="0"/>
          </a:p>
        </p:txBody>
      </p:sp>
      <p:sp>
        <p:nvSpPr>
          <p:cNvPr id="5" name="Espace réservé du numéro de diapositive 4">
            <a:extLst>
              <a:ext uri="{FF2B5EF4-FFF2-40B4-BE49-F238E27FC236}">
                <a16:creationId xmlns:a16="http://schemas.microsoft.com/office/drawing/2014/main" id="{6962D0BA-22E5-4772-A6C4-E3D9DBE938FA}"/>
              </a:ext>
            </a:extLst>
          </p:cNvPr>
          <p:cNvSpPr>
            <a:spLocks noGrp="1"/>
          </p:cNvSpPr>
          <p:nvPr>
            <p:ph type="sldNum" sz="quarter" idx="12"/>
          </p:nvPr>
        </p:nvSpPr>
        <p:spPr/>
        <p:txBody>
          <a:bodyPr/>
          <a:lstStyle/>
          <a:p>
            <a:fld id="{733122C9-A0B9-462F-8757-0847AD287B63}" type="slidenum">
              <a:rPr lang="fr-FR" smtClean="0"/>
              <a:pPr/>
              <a:t>1</a:t>
            </a:fld>
            <a:endParaRPr lang="fr-FR" dirty="0"/>
          </a:p>
        </p:txBody>
      </p:sp>
      <p:sp>
        <p:nvSpPr>
          <p:cNvPr id="6" name="Titre 5">
            <a:extLst>
              <a:ext uri="{FF2B5EF4-FFF2-40B4-BE49-F238E27FC236}">
                <a16:creationId xmlns:a16="http://schemas.microsoft.com/office/drawing/2014/main" id="{A8F2CCB0-E77C-4A3B-BF24-1519EF86394A}"/>
              </a:ext>
            </a:extLst>
          </p:cNvPr>
          <p:cNvSpPr>
            <a:spLocks noGrp="1"/>
          </p:cNvSpPr>
          <p:nvPr>
            <p:ph type="title"/>
          </p:nvPr>
        </p:nvSpPr>
        <p:spPr/>
        <p:txBody>
          <a:bodyPr/>
          <a:lstStyle/>
          <a:p>
            <a:endParaRPr lang="fr-FR"/>
          </a:p>
        </p:txBody>
      </p:sp>
    </p:spTree>
    <p:extLst>
      <p:ext uri="{BB962C8B-B14F-4D97-AF65-F5344CB8AC3E}">
        <p14:creationId xmlns:p14="http://schemas.microsoft.com/office/powerpoint/2010/main" val="38682800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A333BEEA-AA2F-4C92-9929-5FF716FE9C06}"/>
              </a:ext>
            </a:extLst>
          </p:cNvPr>
          <p:cNvGraphicFramePr>
            <a:graphicFrameLocks noChangeAspect="1"/>
          </p:cNvGraphicFramePr>
          <p:nvPr>
            <p:custDataLst>
              <p:tags r:id="rId2"/>
            </p:custDataLst>
            <p:extLst>
              <p:ext uri="{D42A27DB-BD31-4B8C-83A1-F6EECF244321}">
                <p14:modId xmlns:p14="http://schemas.microsoft.com/office/powerpoint/2010/main" val="1392731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Diapositive think-cell" r:id="rId5" imgW="395" imgH="394" progId="TCLayout.ActiveDocument.1">
                  <p:embed/>
                </p:oleObj>
              </mc:Choice>
              <mc:Fallback>
                <p:oleObj name="Diapositive think-cell" r:id="rId5" imgW="395" imgH="394" progId="TCLayout.ActiveDocument.1">
                  <p:embed/>
                  <p:pic>
                    <p:nvPicPr>
                      <p:cNvPr id="15" name="Objet 14" hidden="1">
                        <a:extLst>
                          <a:ext uri="{FF2B5EF4-FFF2-40B4-BE49-F238E27FC236}">
                            <a16:creationId xmlns:a16="http://schemas.microsoft.com/office/drawing/2014/main" id="{A333BEEA-AA2F-4C92-9929-5FF716FE9C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A58DF40-F2AA-4224-BFE3-047B2F90759F}"/>
              </a:ext>
            </a:extLst>
          </p:cNvPr>
          <p:cNvSpPr>
            <a:spLocks noGrp="1"/>
          </p:cNvSpPr>
          <p:nvPr>
            <p:ph type="title"/>
          </p:nvPr>
        </p:nvSpPr>
        <p:spPr/>
        <p:txBody>
          <a:bodyPr vert="horz"/>
          <a:lstStyle/>
          <a:p>
            <a:r>
              <a:rPr lang="fr-FR" dirty="0"/>
              <a:t>Quelques réponses…</a:t>
            </a:r>
          </a:p>
        </p:txBody>
      </p:sp>
      <p:sp>
        <p:nvSpPr>
          <p:cNvPr id="5" name="Espace réservé de la date 4">
            <a:extLst>
              <a:ext uri="{FF2B5EF4-FFF2-40B4-BE49-F238E27FC236}">
                <a16:creationId xmlns:a16="http://schemas.microsoft.com/office/drawing/2014/main" id="{2BDE264D-B8C6-4456-9EA0-46B24F1877B9}"/>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46E8C167-927B-487B-96F0-5A6687D0F6D7}"/>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D0ECEF8D-C744-45DC-AB27-93F8EC8897AE}"/>
              </a:ext>
            </a:extLst>
          </p:cNvPr>
          <p:cNvSpPr>
            <a:spLocks noGrp="1"/>
          </p:cNvSpPr>
          <p:nvPr>
            <p:ph type="sldNum" sz="quarter" idx="16"/>
          </p:nvPr>
        </p:nvSpPr>
        <p:spPr/>
        <p:txBody>
          <a:bodyPr/>
          <a:lstStyle/>
          <a:p>
            <a:fld id="{733122C9-A0B9-462F-8757-0847AD287B63}" type="slidenum">
              <a:rPr lang="fr-FR" smtClean="0"/>
              <a:pPr/>
              <a:t>10</a:t>
            </a:fld>
            <a:endParaRPr lang="fr-FR" dirty="0"/>
          </a:p>
        </p:txBody>
      </p:sp>
      <p:sp>
        <p:nvSpPr>
          <p:cNvPr id="9" name="Rectangle 8">
            <a:extLst>
              <a:ext uri="{FF2B5EF4-FFF2-40B4-BE49-F238E27FC236}">
                <a16:creationId xmlns:a16="http://schemas.microsoft.com/office/drawing/2014/main" id="{B9A0DD31-64EC-41F0-BF81-0F6F703C671C}"/>
              </a:ext>
            </a:extLst>
          </p:cNvPr>
          <p:cNvSpPr/>
          <p:nvPr/>
        </p:nvSpPr>
        <p:spPr>
          <a:xfrm>
            <a:off x="373295" y="1270611"/>
            <a:ext cx="3295387" cy="1600051"/>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ea typeface="Times New Roman" panose="02020603050405020304" pitchFamily="18" charset="0"/>
                <a:cs typeface="Calibri" panose="020F0502020204030204" pitchFamily="34" charset="0"/>
              </a:rPr>
              <a:t>Le titane recyclé est de qualité moindre, il coûte moins, sa valeur d'usage est plus limitée...</a:t>
            </a:r>
            <a:endParaRPr lang="fr-FR" dirty="0">
              <a:solidFill>
                <a:schemeClr val="tx2"/>
              </a:solidFill>
              <a:latin typeface="Calibri" panose="020F0502020204030204" pitchFamily="34" charset="0"/>
              <a:cs typeface="Calibri" panose="020F0502020204030204" pitchFamily="34" charset="0"/>
            </a:endParaRPr>
          </a:p>
        </p:txBody>
      </p:sp>
      <p:sp>
        <p:nvSpPr>
          <p:cNvPr id="10" name="ZoneTexte 9">
            <a:extLst>
              <a:ext uri="{FF2B5EF4-FFF2-40B4-BE49-F238E27FC236}">
                <a16:creationId xmlns:a16="http://schemas.microsoft.com/office/drawing/2014/main" id="{499FE6D7-3AC0-4E49-AD57-412D5DD55902}"/>
              </a:ext>
            </a:extLst>
          </p:cNvPr>
          <p:cNvSpPr txBox="1"/>
          <p:nvPr/>
        </p:nvSpPr>
        <p:spPr>
          <a:xfrm>
            <a:off x="90000" y="829739"/>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sp>
        <p:nvSpPr>
          <p:cNvPr id="11" name="ZoneTexte 10">
            <a:extLst>
              <a:ext uri="{FF2B5EF4-FFF2-40B4-BE49-F238E27FC236}">
                <a16:creationId xmlns:a16="http://schemas.microsoft.com/office/drawing/2014/main" id="{3F9861F9-F487-44BF-BBAE-3AF173EB375E}"/>
              </a:ext>
            </a:extLst>
          </p:cNvPr>
          <p:cNvSpPr txBox="1"/>
          <p:nvPr/>
        </p:nvSpPr>
        <p:spPr>
          <a:xfrm>
            <a:off x="3416530" y="1890584"/>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
        <p:nvSpPr>
          <p:cNvPr id="22" name="ZoneTexte 21">
            <a:extLst>
              <a:ext uri="{FF2B5EF4-FFF2-40B4-BE49-F238E27FC236}">
                <a16:creationId xmlns:a16="http://schemas.microsoft.com/office/drawing/2014/main" id="{372BA8F8-5677-4643-B800-811CC944DAC1}"/>
              </a:ext>
            </a:extLst>
          </p:cNvPr>
          <p:cNvSpPr txBox="1"/>
          <p:nvPr/>
        </p:nvSpPr>
        <p:spPr>
          <a:xfrm>
            <a:off x="4056761" y="1342792"/>
            <a:ext cx="4828202" cy="1631216"/>
          </a:xfrm>
          <a:prstGeom prst="rect">
            <a:avLst/>
          </a:prstGeom>
          <a:noFill/>
        </p:spPr>
        <p:txBody>
          <a:bodyPr wrap="square" rtlCol="0">
            <a:spAutoFit/>
          </a:bodyPr>
          <a:lstStyle/>
          <a:p>
            <a:pPr marL="360363" indent="-360363" algn="just">
              <a:spcAft>
                <a:spcPts val="600"/>
              </a:spcAft>
              <a:buClr>
                <a:srgbClr val="1B9D91"/>
              </a:buClr>
              <a:buSzPct val="125000"/>
              <a:buFont typeface="Calibri" panose="020F0502020204030204" pitchFamily="34" charset="0"/>
              <a:buChar char="›"/>
            </a:pPr>
            <a:r>
              <a:rPr lang="fr-FR" sz="1500" dirty="0">
                <a:solidFill>
                  <a:schemeClr val="tx2"/>
                </a:solidFill>
                <a:latin typeface="Calibri" panose="020F0502020204030204" pitchFamily="34" charset="0"/>
                <a:cs typeface="Calibri" panose="020F0502020204030204" pitchFamily="34" charset="0"/>
              </a:rPr>
              <a:t>Les procédés mis en œuvre depuis la collecte, la préparation des chutes (</a:t>
            </a:r>
            <a:r>
              <a:rPr lang="fr-FR" sz="1500" dirty="0" err="1">
                <a:solidFill>
                  <a:schemeClr val="tx2"/>
                </a:solidFill>
                <a:latin typeface="Calibri" panose="020F0502020204030204" pitchFamily="34" charset="0"/>
                <a:cs typeface="Calibri" panose="020F0502020204030204" pitchFamily="34" charset="0"/>
              </a:rPr>
              <a:t>processing</a:t>
            </a:r>
            <a:r>
              <a:rPr lang="fr-FR" sz="1500" dirty="0">
                <a:solidFill>
                  <a:schemeClr val="tx2"/>
                </a:solidFill>
                <a:latin typeface="Calibri" panose="020F0502020204030204" pitchFamily="34" charset="0"/>
                <a:cs typeface="Calibri" panose="020F0502020204030204" pitchFamily="34" charset="0"/>
              </a:rPr>
              <a:t>), la préparation des lots d’enfournement jusqu'à la fusion garantissent une qualité au summum de l'état de l’art.</a:t>
            </a:r>
          </a:p>
          <a:p>
            <a:pPr marL="360363" indent="-360363" algn="just">
              <a:spcBef>
                <a:spcPts val="600"/>
              </a:spcBef>
              <a:buClr>
                <a:srgbClr val="1B9D91"/>
              </a:buClr>
              <a:buSzPct val="125000"/>
              <a:buFont typeface="Calibri" panose="020F0502020204030204" pitchFamily="34" charset="0"/>
              <a:buChar char="›"/>
            </a:pPr>
            <a:r>
              <a:rPr lang="fr-FR" sz="1500" dirty="0">
                <a:solidFill>
                  <a:schemeClr val="tx2"/>
                </a:solidFill>
                <a:latin typeface="Calibri" panose="020F0502020204030204" pitchFamily="34" charset="0"/>
                <a:cs typeface="Calibri" panose="020F0502020204030204" pitchFamily="34" charset="0"/>
              </a:rPr>
              <a:t>Le procédé PAMCHR permet de diviser par 10 le nombre de défauts </a:t>
            </a:r>
            <a:r>
              <a:rPr lang="fr-FR" sz="1500" dirty="0" err="1">
                <a:solidFill>
                  <a:schemeClr val="tx2"/>
                </a:solidFill>
                <a:latin typeface="Calibri" panose="020F0502020204030204" pitchFamily="34" charset="0"/>
                <a:cs typeface="Calibri" panose="020F0502020204030204" pitchFamily="34" charset="0"/>
              </a:rPr>
              <a:t>inclusionnaires</a:t>
            </a:r>
            <a:r>
              <a:rPr lang="fr-FR" sz="1500" dirty="0">
                <a:solidFill>
                  <a:schemeClr val="tx2"/>
                </a:solidFill>
                <a:latin typeface="Calibri" panose="020F0502020204030204" pitchFamily="34" charset="0"/>
                <a:cs typeface="Calibri" panose="020F0502020204030204" pitchFamily="34" charset="0"/>
              </a:rPr>
              <a:t>!</a:t>
            </a:r>
          </a:p>
        </p:txBody>
      </p:sp>
      <p:sp>
        <p:nvSpPr>
          <p:cNvPr id="16" name="Rectangle 15">
            <a:extLst>
              <a:ext uri="{FF2B5EF4-FFF2-40B4-BE49-F238E27FC236}">
                <a16:creationId xmlns:a16="http://schemas.microsoft.com/office/drawing/2014/main" id="{3E958C38-89AC-46A1-BC23-AD67736EA8C3}"/>
              </a:ext>
            </a:extLst>
          </p:cNvPr>
          <p:cNvSpPr/>
          <p:nvPr>
            <p:custDataLst>
              <p:tags r:id="rId3"/>
            </p:custDataLst>
          </p:nvPr>
        </p:nvSpPr>
        <p:spPr>
          <a:xfrm>
            <a:off x="2530522" y="3844999"/>
            <a:ext cx="2667000" cy="1270000"/>
          </a:xfrm>
          <a:prstGeom prst="rect">
            <a:avLst/>
          </a:prstGeom>
          <a:solidFill>
            <a:srgbClr val="FFFF8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rmAutofit/>
          </a:bodyPr>
          <a:lstStyle/>
          <a:p>
            <a:r>
              <a:rPr lang="fr-FR" sz="1400" dirty="0">
                <a:solidFill>
                  <a:srgbClr val="000000"/>
                </a:solidFill>
              </a:rPr>
              <a:t>Exemple à inclure pour illustrer : </a:t>
            </a:r>
          </a:p>
          <a:p>
            <a:r>
              <a:rPr lang="fr-FR" sz="1400" dirty="0">
                <a:solidFill>
                  <a:srgbClr val="000000"/>
                </a:solidFill>
              </a:rPr>
              <a:t>image propreté entre PAM vs VAR</a:t>
            </a:r>
          </a:p>
        </p:txBody>
      </p:sp>
    </p:spTree>
    <p:extLst>
      <p:ext uri="{BB962C8B-B14F-4D97-AF65-F5344CB8AC3E}">
        <p14:creationId xmlns:p14="http://schemas.microsoft.com/office/powerpoint/2010/main" val="1009242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a:extLst>
              <a:ext uri="{FF2B5EF4-FFF2-40B4-BE49-F238E27FC236}">
                <a16:creationId xmlns:a16="http://schemas.microsoft.com/office/drawing/2014/main" id="{5DA449F9-2B97-4831-8EF6-A09354F48033}"/>
              </a:ext>
            </a:extLst>
          </p:cNvPr>
          <p:cNvGraphicFramePr>
            <a:graphicFrameLocks noChangeAspect="1"/>
          </p:cNvGraphicFramePr>
          <p:nvPr>
            <p:custDataLst>
              <p:tags r:id="rId2"/>
            </p:custDataLst>
            <p:extLst>
              <p:ext uri="{D42A27DB-BD31-4B8C-83A1-F6EECF244321}">
                <p14:modId xmlns:p14="http://schemas.microsoft.com/office/powerpoint/2010/main" val="65301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Diapositive think-cell" r:id="rId6" imgW="344" imgH="344" progId="TCLayout.ActiveDocument.1">
                  <p:embed/>
                </p:oleObj>
              </mc:Choice>
              <mc:Fallback>
                <p:oleObj name="Diapositive think-cell" r:id="rId6" imgW="344" imgH="344" progId="TCLayout.ActiveDocument.1">
                  <p:embed/>
                  <p:pic>
                    <p:nvPicPr>
                      <p:cNvPr id="16" name="Objet 15" hidden="1">
                        <a:extLst>
                          <a:ext uri="{FF2B5EF4-FFF2-40B4-BE49-F238E27FC236}">
                            <a16:creationId xmlns:a16="http://schemas.microsoft.com/office/drawing/2014/main" id="{5DA449F9-2B97-4831-8EF6-A09354F480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7E1C1C9-6761-4F4E-BB8A-C53C6A088450}"/>
              </a:ext>
            </a:extLst>
          </p:cNvPr>
          <p:cNvSpPr>
            <a:spLocks noGrp="1"/>
          </p:cNvSpPr>
          <p:nvPr>
            <p:ph type="title"/>
          </p:nvPr>
        </p:nvSpPr>
        <p:spPr/>
        <p:txBody>
          <a:bodyPr vert="horz"/>
          <a:lstStyle/>
          <a:p>
            <a:r>
              <a:rPr lang="fr-FR" dirty="0"/>
              <a:t>Quelques réponses…</a:t>
            </a:r>
          </a:p>
        </p:txBody>
      </p:sp>
      <p:sp>
        <p:nvSpPr>
          <p:cNvPr id="4" name="Espace réservé du texte 3">
            <a:extLst>
              <a:ext uri="{FF2B5EF4-FFF2-40B4-BE49-F238E27FC236}">
                <a16:creationId xmlns:a16="http://schemas.microsoft.com/office/drawing/2014/main" id="{5F1D61A5-FD02-4424-8541-D8C624C8CF78}"/>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034507B1-DE8E-487B-9C2B-37B917C6C432}"/>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6875D38E-A6B1-4823-AFFB-E02F4DFDB06D}"/>
              </a:ext>
            </a:extLst>
          </p:cNvPr>
          <p:cNvSpPr>
            <a:spLocks noGrp="1"/>
          </p:cNvSpPr>
          <p:nvPr>
            <p:ph type="ftr" sz="quarter" idx="15"/>
          </p:nvPr>
        </p:nvSpPr>
        <p:spPr/>
        <p:txBody>
          <a:bodyPr/>
          <a:lstStyle/>
          <a:p>
            <a:pPr algn="l"/>
            <a:r>
              <a:rPr lang="fr-FR" dirty="0"/>
              <a:t>Titre de la présentation - 00/00/00</a:t>
            </a:r>
          </a:p>
        </p:txBody>
      </p:sp>
      <p:sp>
        <p:nvSpPr>
          <p:cNvPr id="7" name="Espace réservé du numéro de diapositive 6">
            <a:extLst>
              <a:ext uri="{FF2B5EF4-FFF2-40B4-BE49-F238E27FC236}">
                <a16:creationId xmlns:a16="http://schemas.microsoft.com/office/drawing/2014/main" id="{88455AE2-0A79-4248-984A-BF93F9C61BDF}"/>
              </a:ext>
            </a:extLst>
          </p:cNvPr>
          <p:cNvSpPr>
            <a:spLocks noGrp="1"/>
          </p:cNvSpPr>
          <p:nvPr>
            <p:ph type="sldNum" sz="quarter" idx="16"/>
          </p:nvPr>
        </p:nvSpPr>
        <p:spPr/>
        <p:txBody>
          <a:bodyPr/>
          <a:lstStyle/>
          <a:p>
            <a:fld id="{733122C9-A0B9-462F-8757-0847AD287B63}" type="slidenum">
              <a:rPr lang="fr-FR" smtClean="0"/>
              <a:pPr/>
              <a:t>11</a:t>
            </a:fld>
            <a:endParaRPr lang="fr-FR" dirty="0"/>
          </a:p>
        </p:txBody>
      </p:sp>
      <p:sp>
        <p:nvSpPr>
          <p:cNvPr id="8" name="Rectangle 7">
            <a:extLst>
              <a:ext uri="{FF2B5EF4-FFF2-40B4-BE49-F238E27FC236}">
                <a16:creationId xmlns:a16="http://schemas.microsoft.com/office/drawing/2014/main" id="{92495AAB-4D37-47FE-B9F4-60E404ED9F1F}"/>
              </a:ext>
            </a:extLst>
          </p:cNvPr>
          <p:cNvSpPr/>
          <p:nvPr/>
        </p:nvSpPr>
        <p:spPr>
          <a:xfrm>
            <a:off x="373295" y="1455052"/>
            <a:ext cx="3295387" cy="1600051"/>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cs typeface="Calibri" panose="020F0502020204030204" pitchFamily="34" charset="0"/>
              </a:rPr>
              <a:t>Les prix de marché des chutes (copeaux et solides) sont moins élevés que le prix des éponges, le lingot recyclé doit être moins cher</a:t>
            </a:r>
          </a:p>
        </p:txBody>
      </p:sp>
      <p:sp>
        <p:nvSpPr>
          <p:cNvPr id="11" name="ZoneTexte 10">
            <a:extLst>
              <a:ext uri="{FF2B5EF4-FFF2-40B4-BE49-F238E27FC236}">
                <a16:creationId xmlns:a16="http://schemas.microsoft.com/office/drawing/2014/main" id="{C8D16411-2772-4A90-8AD1-CFF9181B4EBE}"/>
              </a:ext>
            </a:extLst>
          </p:cNvPr>
          <p:cNvSpPr txBox="1"/>
          <p:nvPr/>
        </p:nvSpPr>
        <p:spPr>
          <a:xfrm>
            <a:off x="4056761" y="1240528"/>
            <a:ext cx="4828202" cy="2323713"/>
          </a:xfrm>
          <a:prstGeom prst="rect">
            <a:avLst/>
          </a:prstGeom>
          <a:noFill/>
        </p:spPr>
        <p:txBody>
          <a:bodyPr wrap="square" rtlCol="0">
            <a:spAutoFit/>
          </a:bodyPr>
          <a:lstStyle/>
          <a:p>
            <a:pPr marL="360363" indent="-360363" algn="just">
              <a:spcAft>
                <a:spcPts val="600"/>
              </a:spcAft>
              <a:buClr>
                <a:srgbClr val="1B9D91"/>
              </a:buClr>
              <a:buSzPct val="125000"/>
              <a:buFont typeface="Calibri" panose="020F0502020204030204" pitchFamily="34" charset="0"/>
              <a:buChar char="›"/>
            </a:pPr>
            <a:r>
              <a:rPr lang="fr-FR" sz="1500" dirty="0">
                <a:solidFill>
                  <a:schemeClr val="tx2"/>
                </a:solidFill>
                <a:latin typeface="Calibri" panose="020F0502020204030204" pitchFamily="34" charset="0"/>
                <a:cs typeface="Calibri" panose="020F0502020204030204" pitchFamily="34" charset="0"/>
              </a:rPr>
              <a:t>Les prix des matières réversibles (solides et copeaux) sont effectivement moins élevés que le prix des éponges mais la chaîne de production n’est pas la même. La route recyclage via la fusion par creuset froid (EB ou PAM) est plus coûteuse en terme d’exploitation. De plus, il faut compter une étape supplémentaire avec la préparation des solides et copeaux</a:t>
            </a:r>
          </a:p>
          <a:p>
            <a:pPr marL="360363" indent="-360363" algn="just">
              <a:spcBef>
                <a:spcPts val="600"/>
              </a:spcBef>
              <a:spcAft>
                <a:spcPts val="600"/>
              </a:spcAft>
              <a:buClr>
                <a:srgbClr val="1B9D91"/>
              </a:buClr>
              <a:buSzPct val="125000"/>
              <a:buFont typeface="Calibri" panose="020F0502020204030204" pitchFamily="34" charset="0"/>
              <a:buChar char="›"/>
            </a:pPr>
            <a:r>
              <a:rPr lang="fr-FR" sz="1500" dirty="0">
                <a:solidFill>
                  <a:schemeClr val="tx2"/>
                </a:solidFill>
                <a:latin typeface="Calibri" panose="020F0502020204030204" pitchFamily="34" charset="0"/>
                <a:cs typeface="Calibri" panose="020F0502020204030204" pitchFamily="34" charset="0"/>
              </a:rPr>
              <a:t>Toutefois, le rapport qualité/prix est optimisé avec le procédé PAMCHR </a:t>
            </a:r>
          </a:p>
        </p:txBody>
      </p:sp>
      <p:sp>
        <p:nvSpPr>
          <p:cNvPr id="12" name="Rectangle 11">
            <a:extLst>
              <a:ext uri="{FF2B5EF4-FFF2-40B4-BE49-F238E27FC236}">
                <a16:creationId xmlns:a16="http://schemas.microsoft.com/office/drawing/2014/main" id="{EF181FE4-C027-4E86-BF26-895494924740}"/>
              </a:ext>
            </a:extLst>
          </p:cNvPr>
          <p:cNvSpPr/>
          <p:nvPr>
            <p:custDataLst>
              <p:tags r:id="rId3"/>
            </p:custDataLst>
          </p:nvPr>
        </p:nvSpPr>
        <p:spPr>
          <a:xfrm>
            <a:off x="3744505" y="4189530"/>
            <a:ext cx="2667000" cy="1270000"/>
          </a:xfrm>
          <a:prstGeom prst="rect">
            <a:avLst/>
          </a:prstGeom>
          <a:solidFill>
            <a:srgbClr val="FFFF8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rmAutofit/>
          </a:bodyPr>
          <a:lstStyle/>
          <a:p>
            <a:r>
              <a:rPr lang="fr-FR" sz="1400" dirty="0">
                <a:solidFill>
                  <a:srgbClr val="000000"/>
                </a:solidFill>
              </a:rPr>
              <a:t>Exemple à inclure pour illustrer</a:t>
            </a:r>
          </a:p>
        </p:txBody>
      </p:sp>
      <p:sp>
        <p:nvSpPr>
          <p:cNvPr id="13" name="ZoneTexte 12">
            <a:extLst>
              <a:ext uri="{FF2B5EF4-FFF2-40B4-BE49-F238E27FC236}">
                <a16:creationId xmlns:a16="http://schemas.microsoft.com/office/drawing/2014/main" id="{63606BDD-5321-4749-992F-5589B3CCFD48}"/>
              </a:ext>
            </a:extLst>
          </p:cNvPr>
          <p:cNvSpPr txBox="1"/>
          <p:nvPr/>
        </p:nvSpPr>
        <p:spPr>
          <a:xfrm>
            <a:off x="90000" y="791639"/>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sp>
        <p:nvSpPr>
          <p:cNvPr id="14" name="ZoneTexte 13">
            <a:extLst>
              <a:ext uri="{FF2B5EF4-FFF2-40B4-BE49-F238E27FC236}">
                <a16:creationId xmlns:a16="http://schemas.microsoft.com/office/drawing/2014/main" id="{CF78FAA0-6454-40B6-9884-B48472794B80}"/>
              </a:ext>
            </a:extLst>
          </p:cNvPr>
          <p:cNvSpPr txBox="1"/>
          <p:nvPr/>
        </p:nvSpPr>
        <p:spPr>
          <a:xfrm>
            <a:off x="3416530" y="2052509"/>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
        <p:nvSpPr>
          <p:cNvPr id="15" name="Rectangle 14">
            <a:extLst>
              <a:ext uri="{FF2B5EF4-FFF2-40B4-BE49-F238E27FC236}">
                <a16:creationId xmlns:a16="http://schemas.microsoft.com/office/drawing/2014/main" id="{3519A7D5-38D1-4202-B942-79E96EBFF496}"/>
              </a:ext>
            </a:extLst>
          </p:cNvPr>
          <p:cNvSpPr/>
          <p:nvPr>
            <p:custDataLst>
              <p:tags r:id="rId4"/>
            </p:custDataLst>
          </p:nvPr>
        </p:nvSpPr>
        <p:spPr>
          <a:xfrm>
            <a:off x="5706655" y="2255077"/>
            <a:ext cx="2667000" cy="1270000"/>
          </a:xfrm>
          <a:prstGeom prst="rect">
            <a:avLst/>
          </a:prstGeom>
          <a:solidFill>
            <a:srgbClr val="FFFF8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rmAutofit/>
          </a:bodyPr>
          <a:lstStyle/>
          <a:p>
            <a:r>
              <a:rPr lang="fr-FR" sz="1400" dirty="0">
                <a:solidFill>
                  <a:srgbClr val="000000"/>
                </a:solidFill>
              </a:rPr>
              <a:t>Prix DP identique à voie éponge?</a:t>
            </a:r>
          </a:p>
        </p:txBody>
      </p:sp>
    </p:spTree>
    <p:extLst>
      <p:ext uri="{BB962C8B-B14F-4D97-AF65-F5344CB8AC3E}">
        <p14:creationId xmlns:p14="http://schemas.microsoft.com/office/powerpoint/2010/main" val="29350002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a:extLst>
              <a:ext uri="{FF2B5EF4-FFF2-40B4-BE49-F238E27FC236}">
                <a16:creationId xmlns:a16="http://schemas.microsoft.com/office/drawing/2014/main" id="{DF32B505-AD72-4893-8D93-A95E7F8E065B}"/>
              </a:ext>
            </a:extLst>
          </p:cNvPr>
          <p:cNvGraphicFramePr>
            <a:graphicFrameLocks noChangeAspect="1"/>
          </p:cNvGraphicFramePr>
          <p:nvPr>
            <p:custDataLst>
              <p:tags r:id="rId2"/>
            </p:custDataLst>
            <p:extLst>
              <p:ext uri="{D42A27DB-BD31-4B8C-83A1-F6EECF244321}">
                <p14:modId xmlns:p14="http://schemas.microsoft.com/office/powerpoint/2010/main" val="94436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Diapositive think-cell" r:id="rId5" imgW="344" imgH="344" progId="TCLayout.ActiveDocument.1">
                  <p:embed/>
                </p:oleObj>
              </mc:Choice>
              <mc:Fallback>
                <p:oleObj name="Diapositive think-cell" r:id="rId5" imgW="344" imgH="344" progId="TCLayout.ActiveDocument.1">
                  <p:embed/>
                  <p:pic>
                    <p:nvPicPr>
                      <p:cNvPr id="16" name="Objet 15" hidden="1">
                        <a:extLst>
                          <a:ext uri="{FF2B5EF4-FFF2-40B4-BE49-F238E27FC236}">
                            <a16:creationId xmlns:a16="http://schemas.microsoft.com/office/drawing/2014/main" id="{DF32B505-AD72-4893-8D93-A95E7F8E06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A9FBC47-1E23-45DC-8653-9050E65551BF}"/>
              </a:ext>
            </a:extLst>
          </p:cNvPr>
          <p:cNvSpPr>
            <a:spLocks noGrp="1"/>
          </p:cNvSpPr>
          <p:nvPr>
            <p:ph type="title"/>
          </p:nvPr>
        </p:nvSpPr>
        <p:spPr/>
        <p:txBody>
          <a:bodyPr vert="horz"/>
          <a:lstStyle/>
          <a:p>
            <a:r>
              <a:rPr lang="fr-FR" dirty="0"/>
              <a:t>Quelques réponses…</a:t>
            </a:r>
          </a:p>
        </p:txBody>
      </p:sp>
      <p:sp>
        <p:nvSpPr>
          <p:cNvPr id="4" name="Espace réservé du texte 3">
            <a:extLst>
              <a:ext uri="{FF2B5EF4-FFF2-40B4-BE49-F238E27FC236}">
                <a16:creationId xmlns:a16="http://schemas.microsoft.com/office/drawing/2014/main" id="{D9441714-DF63-41CC-ACAF-46781F1942C6}"/>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B6FBDD47-97E3-4304-9413-E2623A54777B}"/>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0F1F0865-5C50-4042-AAC5-9CBF7160A50B}"/>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B9BBA04B-5E43-40F9-A673-602708A02508}"/>
              </a:ext>
            </a:extLst>
          </p:cNvPr>
          <p:cNvSpPr>
            <a:spLocks noGrp="1"/>
          </p:cNvSpPr>
          <p:nvPr>
            <p:ph type="sldNum" sz="quarter" idx="16"/>
          </p:nvPr>
        </p:nvSpPr>
        <p:spPr/>
        <p:txBody>
          <a:bodyPr/>
          <a:lstStyle/>
          <a:p>
            <a:fld id="{733122C9-A0B9-462F-8757-0847AD287B63}" type="slidenum">
              <a:rPr lang="fr-FR" smtClean="0"/>
              <a:pPr/>
              <a:t>12</a:t>
            </a:fld>
            <a:endParaRPr lang="fr-FR" dirty="0"/>
          </a:p>
        </p:txBody>
      </p:sp>
      <p:sp>
        <p:nvSpPr>
          <p:cNvPr id="8" name="Rectangle 7">
            <a:extLst>
              <a:ext uri="{FF2B5EF4-FFF2-40B4-BE49-F238E27FC236}">
                <a16:creationId xmlns:a16="http://schemas.microsoft.com/office/drawing/2014/main" id="{AEAAA1A0-4847-4E9F-AD46-198E2A4351FB}"/>
              </a:ext>
            </a:extLst>
          </p:cNvPr>
          <p:cNvSpPr/>
          <p:nvPr/>
        </p:nvSpPr>
        <p:spPr>
          <a:xfrm>
            <a:off x="374404" y="1458165"/>
            <a:ext cx="3294000" cy="1600051"/>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cs typeface="Calibri" panose="020F0502020204030204" pitchFamily="34" charset="0"/>
              </a:rPr>
              <a:t>Quel intérêt à vendre des chutes à un prix inférieur au prix du marché ?</a:t>
            </a:r>
          </a:p>
        </p:txBody>
      </p:sp>
      <p:sp>
        <p:nvSpPr>
          <p:cNvPr id="11" name="ZoneTexte 10">
            <a:extLst>
              <a:ext uri="{FF2B5EF4-FFF2-40B4-BE49-F238E27FC236}">
                <a16:creationId xmlns:a16="http://schemas.microsoft.com/office/drawing/2014/main" id="{721D5DC9-051D-43CE-A32F-3CE0EC5E1EDE}"/>
              </a:ext>
            </a:extLst>
          </p:cNvPr>
          <p:cNvSpPr txBox="1"/>
          <p:nvPr/>
        </p:nvSpPr>
        <p:spPr>
          <a:xfrm>
            <a:off x="4056761" y="1271354"/>
            <a:ext cx="4828202" cy="1862048"/>
          </a:xfrm>
          <a:prstGeom prst="rect">
            <a:avLst/>
          </a:prstGeom>
          <a:noFill/>
        </p:spPr>
        <p:txBody>
          <a:bodyPr wrap="square" rtlCol="0">
            <a:spAutoFit/>
          </a:bodyPr>
          <a:lstStyle/>
          <a:p>
            <a:pPr marL="360363" indent="-360363" algn="just">
              <a:spcBef>
                <a:spcPts val="600"/>
              </a:spcBef>
              <a:spcAft>
                <a:spcPts val="600"/>
              </a:spcAft>
              <a:buClr>
                <a:srgbClr val="1B9D91"/>
              </a:buClr>
              <a:buSzPct val="125000"/>
              <a:buFont typeface="Calibri" panose="020F0502020204030204" pitchFamily="34" charset="0"/>
              <a:buChar char="›"/>
            </a:pPr>
            <a:r>
              <a:rPr lang="fr-FR" sz="1500" dirty="0">
                <a:solidFill>
                  <a:schemeClr val="tx2"/>
                </a:solidFill>
                <a:latin typeface="Calibri" panose="020F0502020204030204" pitchFamily="34" charset="0"/>
                <a:cs typeface="Calibri" panose="020F0502020204030204" pitchFamily="34" charset="0"/>
              </a:rPr>
              <a:t>L'avantage d'entrer en économie circulaire est d'avoir un prix de vente constant pour un volume de chutes en rapport avec le volume de lingots ou demi-produits achetés</a:t>
            </a:r>
          </a:p>
          <a:p>
            <a:pPr marL="360363" indent="-360363" algn="just">
              <a:spcBef>
                <a:spcPts val="600"/>
              </a:spcBef>
              <a:spcAft>
                <a:spcPts val="600"/>
              </a:spcAft>
              <a:buClr>
                <a:srgbClr val="1B9D91"/>
              </a:buClr>
              <a:buSzPct val="125000"/>
              <a:buFont typeface="Calibri" panose="020F0502020204030204" pitchFamily="34" charset="0"/>
              <a:buChar char="›"/>
            </a:pPr>
            <a:r>
              <a:rPr lang="fr-FR" sz="1500" dirty="0">
                <a:solidFill>
                  <a:schemeClr val="tx2"/>
                </a:solidFill>
                <a:latin typeface="Calibri" panose="020F0502020204030204" pitchFamily="34" charset="0"/>
                <a:cs typeface="Calibri" panose="020F0502020204030204" pitchFamily="34" charset="0"/>
              </a:rPr>
              <a:t>L’intérêt d’un prix de reprise bas des matières réversibles permet la diminution de consommation de cash sur toute la </a:t>
            </a:r>
            <a:r>
              <a:rPr lang="fr-FR" sz="1500" dirty="0" err="1">
                <a:solidFill>
                  <a:schemeClr val="tx2"/>
                </a:solidFill>
                <a:latin typeface="Calibri" panose="020F0502020204030204" pitchFamily="34" charset="0"/>
                <a:cs typeface="Calibri" panose="020F0502020204030204" pitchFamily="34" charset="0"/>
              </a:rPr>
              <a:t>supply-chain</a:t>
            </a:r>
            <a:endParaRPr lang="fr-FR" sz="1500" dirty="0">
              <a:solidFill>
                <a:schemeClr val="tx2"/>
              </a:solidFill>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0327C3C5-B14F-43CE-8FBB-ADD629D81065}"/>
              </a:ext>
            </a:extLst>
          </p:cNvPr>
          <p:cNvSpPr/>
          <p:nvPr>
            <p:custDataLst>
              <p:tags r:id="rId3"/>
            </p:custDataLst>
          </p:nvPr>
        </p:nvSpPr>
        <p:spPr>
          <a:xfrm>
            <a:off x="3744505" y="4189530"/>
            <a:ext cx="2667000" cy="1270000"/>
          </a:xfrm>
          <a:prstGeom prst="rect">
            <a:avLst/>
          </a:prstGeom>
          <a:solidFill>
            <a:srgbClr val="FFFF8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rmAutofit/>
          </a:bodyPr>
          <a:lstStyle/>
          <a:p>
            <a:r>
              <a:rPr lang="fr-FR" sz="1400" dirty="0">
                <a:solidFill>
                  <a:srgbClr val="000000"/>
                </a:solidFill>
              </a:rPr>
              <a:t>Exemple à inclure pour illustrer</a:t>
            </a:r>
          </a:p>
        </p:txBody>
      </p:sp>
      <p:sp>
        <p:nvSpPr>
          <p:cNvPr id="13" name="ZoneTexte 12">
            <a:extLst>
              <a:ext uri="{FF2B5EF4-FFF2-40B4-BE49-F238E27FC236}">
                <a16:creationId xmlns:a16="http://schemas.microsoft.com/office/drawing/2014/main" id="{89E6A5F3-C0B3-4B61-A6F8-D7DEABF7FD55}"/>
              </a:ext>
            </a:extLst>
          </p:cNvPr>
          <p:cNvSpPr txBox="1"/>
          <p:nvPr/>
        </p:nvSpPr>
        <p:spPr>
          <a:xfrm>
            <a:off x="90000" y="1020239"/>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sp>
        <p:nvSpPr>
          <p:cNvPr id="14" name="ZoneTexte 13">
            <a:extLst>
              <a:ext uri="{FF2B5EF4-FFF2-40B4-BE49-F238E27FC236}">
                <a16:creationId xmlns:a16="http://schemas.microsoft.com/office/drawing/2014/main" id="{CF0A3786-82ED-4EDD-889E-1D4FB3D86AD2}"/>
              </a:ext>
            </a:extLst>
          </p:cNvPr>
          <p:cNvSpPr txBox="1"/>
          <p:nvPr/>
        </p:nvSpPr>
        <p:spPr>
          <a:xfrm>
            <a:off x="3416530" y="2081084"/>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Tree>
    <p:extLst>
      <p:ext uri="{BB962C8B-B14F-4D97-AF65-F5344CB8AC3E}">
        <p14:creationId xmlns:p14="http://schemas.microsoft.com/office/powerpoint/2010/main" val="1628420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A333BEEA-AA2F-4C92-9929-5FF716FE9C06}"/>
              </a:ext>
            </a:extLst>
          </p:cNvPr>
          <p:cNvGraphicFramePr>
            <a:graphicFrameLocks noChangeAspect="1"/>
          </p:cNvGraphicFramePr>
          <p:nvPr>
            <p:custDataLst>
              <p:tags r:id="rId2"/>
            </p:custDataLst>
            <p:extLst>
              <p:ext uri="{D42A27DB-BD31-4B8C-83A1-F6EECF244321}">
                <p14:modId xmlns:p14="http://schemas.microsoft.com/office/powerpoint/2010/main" val="2106349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Diapositive think-cell" r:id="rId5" imgW="395" imgH="394" progId="TCLayout.ActiveDocument.1">
                  <p:embed/>
                </p:oleObj>
              </mc:Choice>
              <mc:Fallback>
                <p:oleObj name="Diapositive think-cell" r:id="rId5" imgW="395" imgH="394" progId="TCLayout.ActiveDocument.1">
                  <p:embed/>
                  <p:pic>
                    <p:nvPicPr>
                      <p:cNvPr id="15" name="Objet 14" hidden="1">
                        <a:extLst>
                          <a:ext uri="{FF2B5EF4-FFF2-40B4-BE49-F238E27FC236}">
                            <a16:creationId xmlns:a16="http://schemas.microsoft.com/office/drawing/2014/main" id="{A333BEEA-AA2F-4C92-9929-5FF716FE9C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A58DF40-F2AA-4224-BFE3-047B2F90759F}"/>
              </a:ext>
            </a:extLst>
          </p:cNvPr>
          <p:cNvSpPr>
            <a:spLocks noGrp="1"/>
          </p:cNvSpPr>
          <p:nvPr>
            <p:ph type="title"/>
          </p:nvPr>
        </p:nvSpPr>
        <p:spPr/>
        <p:txBody>
          <a:bodyPr vert="horz"/>
          <a:lstStyle/>
          <a:p>
            <a:r>
              <a:rPr lang="fr-FR" dirty="0"/>
              <a:t>Quelques réponses…</a:t>
            </a:r>
          </a:p>
        </p:txBody>
      </p:sp>
      <p:sp>
        <p:nvSpPr>
          <p:cNvPr id="4" name="Espace réservé du texte 3">
            <a:extLst>
              <a:ext uri="{FF2B5EF4-FFF2-40B4-BE49-F238E27FC236}">
                <a16:creationId xmlns:a16="http://schemas.microsoft.com/office/drawing/2014/main" id="{C5367613-8BE5-4521-9CEB-B227131AD4B6}"/>
              </a:ext>
            </a:extLst>
          </p:cNvPr>
          <p:cNvSpPr>
            <a:spLocks noGrp="1"/>
          </p:cNvSpPr>
          <p:nvPr>
            <p:ph type="body" sz="quarter" idx="13"/>
          </p:nvPr>
        </p:nvSpPr>
        <p:spPr/>
        <p:txBody>
          <a:bodyPr/>
          <a:lstStyle/>
          <a:p>
            <a:endParaRPr lang="fr-FR" dirty="0"/>
          </a:p>
        </p:txBody>
      </p:sp>
      <p:sp>
        <p:nvSpPr>
          <p:cNvPr id="5" name="Espace réservé de la date 4">
            <a:extLst>
              <a:ext uri="{FF2B5EF4-FFF2-40B4-BE49-F238E27FC236}">
                <a16:creationId xmlns:a16="http://schemas.microsoft.com/office/drawing/2014/main" id="{2BDE264D-B8C6-4456-9EA0-46B24F1877B9}"/>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46E8C167-927B-487B-96F0-5A6687D0F6D7}"/>
              </a:ext>
            </a:extLst>
          </p:cNvPr>
          <p:cNvSpPr>
            <a:spLocks noGrp="1"/>
          </p:cNvSpPr>
          <p:nvPr>
            <p:ph type="ftr" sz="quarter" idx="15"/>
          </p:nvPr>
        </p:nvSpPr>
        <p:spPr/>
        <p:txBody>
          <a:bodyPr/>
          <a:lstStyle/>
          <a:p>
            <a:pPr algn="l"/>
            <a:r>
              <a:rPr lang="fr-FR" dirty="0"/>
              <a:t>Titre de la présentation - 00/00/00</a:t>
            </a:r>
          </a:p>
        </p:txBody>
      </p:sp>
      <p:sp>
        <p:nvSpPr>
          <p:cNvPr id="7" name="Espace réservé du numéro de diapositive 6">
            <a:extLst>
              <a:ext uri="{FF2B5EF4-FFF2-40B4-BE49-F238E27FC236}">
                <a16:creationId xmlns:a16="http://schemas.microsoft.com/office/drawing/2014/main" id="{D0ECEF8D-C744-45DC-AB27-93F8EC8897AE}"/>
              </a:ext>
            </a:extLst>
          </p:cNvPr>
          <p:cNvSpPr>
            <a:spLocks noGrp="1"/>
          </p:cNvSpPr>
          <p:nvPr>
            <p:ph type="sldNum" sz="quarter" idx="16"/>
          </p:nvPr>
        </p:nvSpPr>
        <p:spPr/>
        <p:txBody>
          <a:bodyPr/>
          <a:lstStyle/>
          <a:p>
            <a:fld id="{733122C9-A0B9-462F-8757-0847AD287B63}" type="slidenum">
              <a:rPr lang="fr-FR" smtClean="0"/>
              <a:pPr/>
              <a:t>13</a:t>
            </a:fld>
            <a:endParaRPr lang="fr-FR" dirty="0"/>
          </a:p>
        </p:txBody>
      </p:sp>
      <p:sp>
        <p:nvSpPr>
          <p:cNvPr id="9" name="Rectangle 8">
            <a:extLst>
              <a:ext uri="{FF2B5EF4-FFF2-40B4-BE49-F238E27FC236}">
                <a16:creationId xmlns:a16="http://schemas.microsoft.com/office/drawing/2014/main" id="{B9A0DD31-64EC-41F0-BF81-0F6F703C671C}"/>
              </a:ext>
            </a:extLst>
          </p:cNvPr>
          <p:cNvSpPr/>
          <p:nvPr/>
        </p:nvSpPr>
        <p:spPr>
          <a:xfrm>
            <a:off x="374404" y="1315811"/>
            <a:ext cx="3294000" cy="1600051"/>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cs typeface="Calibri" panose="020F0502020204030204" pitchFamily="34" charset="0"/>
              </a:rPr>
              <a:t>J'ai vendu des solides et copeaux à x €/kg sur le marché, vous devez les reprendre à un prix supérieur, il n'y a pas d'intermédiaires.</a:t>
            </a:r>
          </a:p>
        </p:txBody>
      </p:sp>
      <p:sp>
        <p:nvSpPr>
          <p:cNvPr id="16" name="ZoneTexte 15">
            <a:extLst>
              <a:ext uri="{FF2B5EF4-FFF2-40B4-BE49-F238E27FC236}">
                <a16:creationId xmlns:a16="http://schemas.microsoft.com/office/drawing/2014/main" id="{FF19AEDE-57CA-49A5-A42B-CB70CF749980}"/>
              </a:ext>
            </a:extLst>
          </p:cNvPr>
          <p:cNvSpPr txBox="1"/>
          <p:nvPr/>
        </p:nvSpPr>
        <p:spPr>
          <a:xfrm>
            <a:off x="4056761" y="1371367"/>
            <a:ext cx="4828202" cy="1862048"/>
          </a:xfrm>
          <a:prstGeom prst="rect">
            <a:avLst/>
          </a:prstGeom>
          <a:noFill/>
        </p:spPr>
        <p:txBody>
          <a:bodyPr wrap="square" rtlCol="0">
            <a:spAutoFit/>
          </a:bodyPr>
          <a:lstStyle/>
          <a:p>
            <a:pPr marL="360363" indent="-360363" algn="just">
              <a:spcAft>
                <a:spcPts val="600"/>
              </a:spcAft>
              <a:buClr>
                <a:srgbClr val="1B9D91"/>
              </a:buClr>
              <a:buSzPct val="125000"/>
              <a:buFont typeface="Calibri" panose="020F0502020204030204" pitchFamily="34" charset="0"/>
              <a:buChar char="›"/>
            </a:pPr>
            <a:r>
              <a:rPr lang="fr-FR" sz="1500" dirty="0">
                <a:solidFill>
                  <a:schemeClr val="tx2"/>
                </a:solidFill>
                <a:latin typeface="Calibri" panose="020F0502020204030204" pitchFamily="34" charset="0"/>
                <a:cs typeface="Calibri" panose="020F0502020204030204" pitchFamily="34" charset="0"/>
              </a:rPr>
              <a:t>Le marché est très spéculatif et répond aux lois de l’offre et de la demande. Lorsqu’il y a du volume, le prix baisse.</a:t>
            </a:r>
          </a:p>
          <a:p>
            <a:pPr marL="360363" indent="-360363" algn="just">
              <a:spcAft>
                <a:spcPts val="600"/>
              </a:spcAft>
              <a:buClr>
                <a:srgbClr val="1B9D91"/>
              </a:buClr>
              <a:buSzPct val="125000"/>
              <a:buFont typeface="Calibri" panose="020F0502020204030204" pitchFamily="34" charset="0"/>
              <a:buChar char="›"/>
            </a:pPr>
            <a:r>
              <a:rPr lang="fr-FR" sz="1500" dirty="0">
                <a:solidFill>
                  <a:schemeClr val="tx2"/>
                </a:solidFill>
                <a:latin typeface="Calibri" panose="020F0502020204030204" pitchFamily="34" charset="0"/>
                <a:cs typeface="Calibri" panose="020F0502020204030204" pitchFamily="34" charset="0"/>
              </a:rPr>
              <a:t>Un raisonnement ne peut être basé que sur un prix moyen observé correspondant à des volumes réguliers</a:t>
            </a:r>
          </a:p>
          <a:p>
            <a:pPr marL="360363" indent="-360363" algn="just">
              <a:spcAft>
                <a:spcPts val="600"/>
              </a:spcAft>
              <a:buClr>
                <a:srgbClr val="1B9D91"/>
              </a:buClr>
              <a:buSzPct val="125000"/>
              <a:buFont typeface="Calibri" panose="020F0502020204030204" pitchFamily="34" charset="0"/>
              <a:buChar char="›"/>
            </a:pPr>
            <a:r>
              <a:rPr lang="fr-FR" sz="1500" dirty="0">
                <a:solidFill>
                  <a:schemeClr val="tx2"/>
                </a:solidFill>
                <a:latin typeface="Calibri" panose="020F0502020204030204" pitchFamily="34" charset="0"/>
                <a:cs typeface="Calibri" panose="020F0502020204030204" pitchFamily="34" charset="0"/>
              </a:rPr>
              <a:t>L’accord sur un prix entre l’élaborateur et son client permet de jouer pleinement son rôle d’amortisseur</a:t>
            </a:r>
          </a:p>
        </p:txBody>
      </p:sp>
      <p:pic>
        <p:nvPicPr>
          <p:cNvPr id="18" name="Picture 2">
            <a:extLst>
              <a:ext uri="{FF2B5EF4-FFF2-40B4-BE49-F238E27FC236}">
                <a16:creationId xmlns:a16="http://schemas.microsoft.com/office/drawing/2014/main" id="{6EF8D34A-CBB7-4FEB-B128-0C03A93056A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60617" y="3560101"/>
            <a:ext cx="4717388" cy="2736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Espace réservé du contenu 2">
            <a:extLst>
              <a:ext uri="{FF2B5EF4-FFF2-40B4-BE49-F238E27FC236}">
                <a16:creationId xmlns:a16="http://schemas.microsoft.com/office/drawing/2014/main" id="{3BFB4312-9527-4EEA-9B32-EFCE5CB70345}"/>
              </a:ext>
            </a:extLst>
          </p:cNvPr>
          <p:cNvSpPr>
            <a:spLocks noGrp="1"/>
          </p:cNvSpPr>
          <p:nvPr>
            <p:ph idx="1"/>
          </p:nvPr>
        </p:nvSpPr>
        <p:spPr>
          <a:xfrm>
            <a:off x="5078005" y="3764998"/>
            <a:ext cx="3743647" cy="1800547"/>
          </a:xfrm>
        </p:spPr>
        <p:txBody>
          <a:bodyPr/>
          <a:lstStyle/>
          <a:p>
            <a:r>
              <a:rPr lang="fr-FR" dirty="0"/>
              <a:t>Comparaison de demi-produits hors économie circulaire (courbe bleue) et en économie circulaire (courbe verte)</a:t>
            </a:r>
          </a:p>
          <a:p>
            <a:r>
              <a:rPr lang="fr-FR" dirty="0"/>
              <a:t>Effet amortisseur / variation des cours ou indices.</a:t>
            </a:r>
          </a:p>
        </p:txBody>
      </p:sp>
      <p:sp>
        <p:nvSpPr>
          <p:cNvPr id="3" name="Rectangle 2">
            <a:extLst>
              <a:ext uri="{FF2B5EF4-FFF2-40B4-BE49-F238E27FC236}">
                <a16:creationId xmlns:a16="http://schemas.microsoft.com/office/drawing/2014/main" id="{3D8A38EF-D936-443A-9702-F3ABC041AA5C}"/>
              </a:ext>
            </a:extLst>
          </p:cNvPr>
          <p:cNvSpPr/>
          <p:nvPr>
            <p:custDataLst>
              <p:tags r:id="rId3"/>
            </p:custDataLst>
          </p:nvPr>
        </p:nvSpPr>
        <p:spPr>
          <a:xfrm>
            <a:off x="3744505" y="4189530"/>
            <a:ext cx="2667000" cy="1270000"/>
          </a:xfrm>
          <a:prstGeom prst="rect">
            <a:avLst/>
          </a:prstGeom>
          <a:solidFill>
            <a:srgbClr val="FFFF8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rmAutofit/>
          </a:bodyPr>
          <a:lstStyle/>
          <a:p>
            <a:r>
              <a:rPr lang="fr-FR" sz="1400" dirty="0">
                <a:solidFill>
                  <a:srgbClr val="000000"/>
                </a:solidFill>
              </a:rPr>
              <a:t>Exemple à inclure pour illustrer</a:t>
            </a:r>
          </a:p>
        </p:txBody>
      </p:sp>
      <p:sp>
        <p:nvSpPr>
          <p:cNvPr id="17" name="ZoneTexte 16">
            <a:extLst>
              <a:ext uri="{FF2B5EF4-FFF2-40B4-BE49-F238E27FC236}">
                <a16:creationId xmlns:a16="http://schemas.microsoft.com/office/drawing/2014/main" id="{1355A640-1026-4CCE-A019-E90227A80EAA}"/>
              </a:ext>
            </a:extLst>
          </p:cNvPr>
          <p:cNvSpPr txBox="1"/>
          <p:nvPr/>
        </p:nvSpPr>
        <p:spPr>
          <a:xfrm>
            <a:off x="-111596" y="876501"/>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sp>
        <p:nvSpPr>
          <p:cNvPr id="20" name="ZoneTexte 19">
            <a:extLst>
              <a:ext uri="{FF2B5EF4-FFF2-40B4-BE49-F238E27FC236}">
                <a16:creationId xmlns:a16="http://schemas.microsoft.com/office/drawing/2014/main" id="{A051AB75-D770-42F6-989F-2950DD8B9FFD}"/>
              </a:ext>
            </a:extLst>
          </p:cNvPr>
          <p:cNvSpPr txBox="1"/>
          <p:nvPr/>
        </p:nvSpPr>
        <p:spPr>
          <a:xfrm>
            <a:off x="3214934" y="1937346"/>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Tree>
    <p:extLst>
      <p:ext uri="{BB962C8B-B14F-4D97-AF65-F5344CB8AC3E}">
        <p14:creationId xmlns:p14="http://schemas.microsoft.com/office/powerpoint/2010/main" val="2588803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78CDD25D-A5C8-4AAC-A649-3F109A0A9C7C}"/>
              </a:ext>
            </a:extLst>
          </p:cNvPr>
          <p:cNvGraphicFramePr>
            <a:graphicFrameLocks noChangeAspect="1"/>
          </p:cNvGraphicFramePr>
          <p:nvPr>
            <p:custDataLst>
              <p:tags r:id="rId2"/>
            </p:custDataLst>
            <p:extLst>
              <p:ext uri="{D42A27DB-BD31-4B8C-83A1-F6EECF244321}">
                <p14:modId xmlns:p14="http://schemas.microsoft.com/office/powerpoint/2010/main" val="35306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Diapositive think-cell" r:id="rId5" imgW="395" imgH="394" progId="TCLayout.ActiveDocument.1">
                  <p:embed/>
                </p:oleObj>
              </mc:Choice>
              <mc:Fallback>
                <p:oleObj name="Diapositive think-cell" r:id="rId5" imgW="395" imgH="394" progId="TCLayout.ActiveDocument.1">
                  <p:embed/>
                  <p:pic>
                    <p:nvPicPr>
                      <p:cNvPr id="8" name="Objet 7" hidden="1">
                        <a:extLst>
                          <a:ext uri="{FF2B5EF4-FFF2-40B4-BE49-F238E27FC236}">
                            <a16:creationId xmlns:a16="http://schemas.microsoft.com/office/drawing/2014/main" id="{78CDD25D-A5C8-4AAC-A649-3F109A0A9C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C759A49C-0FB4-4580-B444-371646D30865}"/>
              </a:ext>
            </a:extLst>
          </p:cNvPr>
          <p:cNvSpPr>
            <a:spLocks noGrp="1"/>
          </p:cNvSpPr>
          <p:nvPr>
            <p:ph type="title"/>
          </p:nvPr>
        </p:nvSpPr>
        <p:spPr/>
        <p:txBody>
          <a:bodyPr vert="horz"/>
          <a:lstStyle/>
          <a:p>
            <a:endParaRPr lang="fr-FR" dirty="0"/>
          </a:p>
        </p:txBody>
      </p:sp>
      <p:sp>
        <p:nvSpPr>
          <p:cNvPr id="3" name="Espace réservé du contenu 2">
            <a:extLst>
              <a:ext uri="{FF2B5EF4-FFF2-40B4-BE49-F238E27FC236}">
                <a16:creationId xmlns:a16="http://schemas.microsoft.com/office/drawing/2014/main" id="{B0714A24-78C6-451E-8E7A-2B94CDDBAA00}"/>
              </a:ext>
            </a:extLst>
          </p:cNvPr>
          <p:cNvSpPr>
            <a:spLocks noGrp="1"/>
          </p:cNvSpPr>
          <p:nvPr>
            <p:ph idx="1"/>
          </p:nvPr>
        </p:nvSpPr>
        <p:spPr/>
        <p:txBody>
          <a:bodyPr/>
          <a:lstStyle/>
          <a:p>
            <a:r>
              <a:rPr lang="fr-FR" dirty="0"/>
              <a:t> </a:t>
            </a:r>
          </a:p>
          <a:p>
            <a:pPr lvl="2"/>
            <a:r>
              <a:rPr lang="fr-FR" dirty="0"/>
              <a:t>Prix des demi-produits au prix de "marché" sans </a:t>
            </a:r>
            <a:r>
              <a:rPr lang="fr-FR" dirty="0" err="1"/>
              <a:t>revert</a:t>
            </a:r>
            <a:r>
              <a:rPr lang="fr-FR" dirty="0"/>
              <a:t>, et reprise des chutes (volumes et prix stables garantis). Le gain se fait alors pour le client sur la reprise des chutes (prix garantis sur la durée) (à limiter en volume en cohérence avec le flux d'achat) et pour l'élaborateur sur l'accès à un volume de </a:t>
            </a:r>
            <a:r>
              <a:rPr lang="fr-FR" dirty="0" err="1"/>
              <a:t>revert</a:t>
            </a:r>
            <a:r>
              <a:rPr lang="fr-FR" dirty="0"/>
              <a:t> garanti à un prix connu à mettre en face des volumes achetés par le client. (Exemple : offre faite à Airbus de reprise de copeaux au prix de 3 $/kg).</a:t>
            </a:r>
          </a:p>
          <a:p>
            <a:pPr marL="0" lvl="2" indent="0">
              <a:buNone/>
            </a:pPr>
            <a:endParaRPr lang="fr-FR" dirty="0"/>
          </a:p>
          <a:p>
            <a:pPr marL="0" lvl="2" indent="0">
              <a:buNone/>
            </a:pPr>
            <a:endParaRPr lang="fr-FR" dirty="0"/>
          </a:p>
          <a:p>
            <a:pPr lvl="2"/>
            <a:r>
              <a:rPr lang="fr-FR" dirty="0"/>
              <a:t>Prix des demi-produits plus bas que le prix sans </a:t>
            </a:r>
            <a:r>
              <a:rPr lang="fr-FR" dirty="0" err="1"/>
              <a:t>revert</a:t>
            </a:r>
            <a:r>
              <a:rPr lang="fr-FR" dirty="0"/>
              <a:t> en intégrant le bénéfice d’une décote sur la valorisation des chutes. Le client doit être convaincu du bénéfice par rapport à la vente de chutes sur le marché libre (risqué dans des contextes de retournement). L’élaborateur lui verra l’accès à un flux régulier de matières en face d’une activité prévisible, et en baissant le niveau de cash engagé pour un volume donné.</a:t>
            </a:r>
          </a:p>
          <a:p>
            <a:endParaRPr lang="fr-FR" dirty="0"/>
          </a:p>
        </p:txBody>
      </p:sp>
      <p:sp>
        <p:nvSpPr>
          <p:cNvPr id="4" name="Espace réservé du texte 3">
            <a:extLst>
              <a:ext uri="{FF2B5EF4-FFF2-40B4-BE49-F238E27FC236}">
                <a16:creationId xmlns:a16="http://schemas.microsoft.com/office/drawing/2014/main" id="{767B2A99-2C16-4742-9D27-47761A6DF745}"/>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F123DD2E-6767-4138-A3F2-2E72E90D6DBA}"/>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27319686-1374-4052-937E-83AD3BFFF6D1}"/>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B9D47447-9E36-4D81-8625-BF34F70B8846}"/>
              </a:ext>
            </a:extLst>
          </p:cNvPr>
          <p:cNvSpPr>
            <a:spLocks noGrp="1"/>
          </p:cNvSpPr>
          <p:nvPr>
            <p:ph type="sldNum" sz="quarter" idx="16"/>
          </p:nvPr>
        </p:nvSpPr>
        <p:spPr/>
        <p:txBody>
          <a:bodyPr/>
          <a:lstStyle/>
          <a:p>
            <a:fld id="{733122C9-A0B9-462F-8757-0847AD287B63}" type="slidenum">
              <a:rPr lang="fr-FR" smtClean="0"/>
              <a:pPr/>
              <a:t>14</a:t>
            </a:fld>
            <a:endParaRPr lang="fr-FR" dirty="0"/>
          </a:p>
        </p:txBody>
      </p:sp>
      <p:sp>
        <p:nvSpPr>
          <p:cNvPr id="9" name="Rectangle 8">
            <a:extLst>
              <a:ext uri="{FF2B5EF4-FFF2-40B4-BE49-F238E27FC236}">
                <a16:creationId xmlns:a16="http://schemas.microsoft.com/office/drawing/2014/main" id="{450F7E12-AFED-4F2F-98FD-59B21C7DB1C3}"/>
              </a:ext>
            </a:extLst>
          </p:cNvPr>
          <p:cNvSpPr/>
          <p:nvPr>
            <p:custDataLst>
              <p:tags r:id="rId3"/>
            </p:custDataLst>
          </p:nvPr>
        </p:nvSpPr>
        <p:spPr>
          <a:xfrm>
            <a:off x="3058480" y="2402000"/>
            <a:ext cx="3243260" cy="1674700"/>
          </a:xfrm>
          <a:prstGeom prst="rect">
            <a:avLst/>
          </a:prstGeom>
          <a:solidFill>
            <a:srgbClr val="FFFF8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rmAutofit/>
          </a:bodyPr>
          <a:lstStyle/>
          <a:p>
            <a:r>
              <a:rPr lang="fr-FR" sz="1400" dirty="0">
                <a:solidFill>
                  <a:srgbClr val="000000"/>
                </a:solidFill>
              </a:rPr>
              <a:t>Proposition de mise en forme slide d’après</a:t>
            </a:r>
          </a:p>
        </p:txBody>
      </p:sp>
    </p:spTree>
    <p:extLst>
      <p:ext uri="{BB962C8B-B14F-4D97-AF65-F5344CB8AC3E}">
        <p14:creationId xmlns:p14="http://schemas.microsoft.com/office/powerpoint/2010/main" val="3773878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8" name="Objet 417" hidden="1">
            <a:extLst>
              <a:ext uri="{FF2B5EF4-FFF2-40B4-BE49-F238E27FC236}">
                <a16:creationId xmlns:a16="http://schemas.microsoft.com/office/drawing/2014/main" id="{A03A10DE-604B-47BB-9635-E0726A9A4E53}"/>
              </a:ext>
            </a:extLst>
          </p:cNvPr>
          <p:cNvGraphicFramePr>
            <a:graphicFrameLocks noChangeAspect="1"/>
          </p:cNvGraphicFramePr>
          <p:nvPr>
            <p:custDataLst>
              <p:tags r:id="rId2"/>
            </p:custDataLst>
            <p:extLst>
              <p:ext uri="{D42A27DB-BD31-4B8C-83A1-F6EECF244321}">
                <p14:modId xmlns:p14="http://schemas.microsoft.com/office/powerpoint/2010/main" val="133456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Diapositive think-cell" r:id="rId10" imgW="344" imgH="344" progId="TCLayout.ActiveDocument.1">
                  <p:embed/>
                </p:oleObj>
              </mc:Choice>
              <mc:Fallback>
                <p:oleObj name="Diapositive think-cell" r:id="rId10" imgW="344" imgH="344" progId="TCLayout.ActiveDocument.1">
                  <p:embed/>
                  <p:pic>
                    <p:nvPicPr>
                      <p:cNvPr id="418" name="Objet 417" hidden="1">
                        <a:extLst>
                          <a:ext uri="{FF2B5EF4-FFF2-40B4-BE49-F238E27FC236}">
                            <a16:creationId xmlns:a16="http://schemas.microsoft.com/office/drawing/2014/main" id="{A03A10DE-604B-47BB-9635-E0726A9A4E5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96" name="ZoneTexte 295">
            <a:extLst>
              <a:ext uri="{FF2B5EF4-FFF2-40B4-BE49-F238E27FC236}">
                <a16:creationId xmlns:a16="http://schemas.microsoft.com/office/drawing/2014/main" id="{8167CA71-E185-4D7B-9715-C3FDDF56461F}"/>
              </a:ext>
            </a:extLst>
          </p:cNvPr>
          <p:cNvSpPr txBox="1"/>
          <p:nvPr/>
        </p:nvSpPr>
        <p:spPr>
          <a:xfrm>
            <a:off x="4852298" y="5629482"/>
            <a:ext cx="3574808" cy="276999"/>
          </a:xfrm>
          <a:prstGeom prst="rect">
            <a:avLst/>
          </a:prstGeom>
          <a:noFill/>
        </p:spPr>
        <p:txBody>
          <a:bodyPr wrap="square" rtlCol="0">
            <a:spAutoFit/>
          </a:bodyPr>
          <a:lstStyle/>
          <a:p>
            <a:pPr algn="ctr">
              <a:buClr>
                <a:srgbClr val="1B9D91"/>
              </a:buClr>
              <a:buSzPct val="125000"/>
            </a:pPr>
            <a:r>
              <a:rPr lang="fr-FR" sz="1200" b="1" dirty="0">
                <a:solidFill>
                  <a:schemeClr val="tx2"/>
                </a:solidFill>
              </a:rPr>
              <a:t>Prix du demi-produit avantageux </a:t>
            </a:r>
          </a:p>
        </p:txBody>
      </p:sp>
      <p:sp>
        <p:nvSpPr>
          <p:cNvPr id="2" name="Titre 1">
            <a:extLst>
              <a:ext uri="{FF2B5EF4-FFF2-40B4-BE49-F238E27FC236}">
                <a16:creationId xmlns:a16="http://schemas.microsoft.com/office/drawing/2014/main" id="{91C35532-AC92-4015-A745-33590D810BF4}"/>
              </a:ext>
            </a:extLst>
          </p:cNvPr>
          <p:cNvSpPr>
            <a:spLocks noGrp="1"/>
          </p:cNvSpPr>
          <p:nvPr>
            <p:ph type="title"/>
          </p:nvPr>
        </p:nvSpPr>
        <p:spPr/>
        <p:txBody>
          <a:bodyPr vert="horz"/>
          <a:lstStyle/>
          <a:p>
            <a:r>
              <a:rPr lang="fr-FR" dirty="0"/>
              <a:t>Différentes possibilités</a:t>
            </a:r>
          </a:p>
        </p:txBody>
      </p:sp>
      <p:pic>
        <p:nvPicPr>
          <p:cNvPr id="191" name="Espace réservé du contenu 190" descr="Une image contenant texte, pièce&#10;&#10;Description générée automatiquement">
            <a:extLst>
              <a:ext uri="{FF2B5EF4-FFF2-40B4-BE49-F238E27FC236}">
                <a16:creationId xmlns:a16="http://schemas.microsoft.com/office/drawing/2014/main" id="{4DA32C52-1380-4C8D-A891-03D885DF2FB7}"/>
              </a:ext>
            </a:extLst>
          </p:cNvPr>
          <p:cNvPicPr>
            <a:picLocks noGrp="1" noChangeAspect="1"/>
          </p:cNvPicPr>
          <p:nvPr>
            <p:ph idx="1"/>
          </p:nvPr>
        </p:nvPicPr>
        <p:blipFill rotWithShape="1">
          <a:blip r:embed="rId12" cstate="screen">
            <a:extLst>
              <a:ext uri="{28A0092B-C50C-407E-A947-70E740481C1C}">
                <a14:useLocalDpi xmlns:a14="http://schemas.microsoft.com/office/drawing/2010/main"/>
              </a:ext>
            </a:extLst>
          </a:blip>
          <a:srcRect/>
          <a:stretch/>
        </p:blipFill>
        <p:spPr>
          <a:xfrm>
            <a:off x="1547720" y="4193965"/>
            <a:ext cx="642939" cy="542170"/>
          </a:xfrm>
        </p:spPr>
      </p:pic>
      <p:sp>
        <p:nvSpPr>
          <p:cNvPr id="4" name="Espace réservé du texte 3">
            <a:extLst>
              <a:ext uri="{FF2B5EF4-FFF2-40B4-BE49-F238E27FC236}">
                <a16:creationId xmlns:a16="http://schemas.microsoft.com/office/drawing/2014/main" id="{B9FCBB53-C355-4506-B1F9-3B14541098DC}"/>
              </a:ext>
            </a:extLst>
          </p:cNvPr>
          <p:cNvSpPr>
            <a:spLocks noGrp="1"/>
          </p:cNvSpPr>
          <p:nvPr>
            <p:ph type="body" sz="quarter" idx="13"/>
          </p:nvPr>
        </p:nvSpPr>
        <p:spPr/>
        <p:txBody>
          <a:bodyPr/>
          <a:lstStyle/>
          <a:p>
            <a:endParaRPr lang="fr-FR" dirty="0"/>
          </a:p>
        </p:txBody>
      </p:sp>
      <p:sp>
        <p:nvSpPr>
          <p:cNvPr id="5" name="Espace réservé de la date 4">
            <a:extLst>
              <a:ext uri="{FF2B5EF4-FFF2-40B4-BE49-F238E27FC236}">
                <a16:creationId xmlns:a16="http://schemas.microsoft.com/office/drawing/2014/main" id="{56916BC6-5F9B-4FD1-8EC3-BE6C01C1A3D6}"/>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DA366EE5-1AC5-479A-96D0-C9F24F677703}"/>
              </a:ext>
            </a:extLst>
          </p:cNvPr>
          <p:cNvSpPr>
            <a:spLocks noGrp="1"/>
          </p:cNvSpPr>
          <p:nvPr>
            <p:ph type="ftr" sz="quarter" idx="15"/>
          </p:nvPr>
        </p:nvSpPr>
        <p:spPr/>
        <p:txBody>
          <a:bodyPr/>
          <a:lstStyle/>
          <a:p>
            <a:pPr algn="l"/>
            <a:r>
              <a:rPr lang="fr-FR" dirty="0"/>
              <a:t>Titre de la présentation - 00/00/00</a:t>
            </a:r>
          </a:p>
        </p:txBody>
      </p:sp>
      <p:sp>
        <p:nvSpPr>
          <p:cNvPr id="7" name="Espace réservé du numéro de diapositive 6">
            <a:extLst>
              <a:ext uri="{FF2B5EF4-FFF2-40B4-BE49-F238E27FC236}">
                <a16:creationId xmlns:a16="http://schemas.microsoft.com/office/drawing/2014/main" id="{395C51A3-E9EB-42ED-9001-312BC70E5CB3}"/>
              </a:ext>
            </a:extLst>
          </p:cNvPr>
          <p:cNvSpPr>
            <a:spLocks noGrp="1"/>
          </p:cNvSpPr>
          <p:nvPr>
            <p:ph type="sldNum" sz="quarter" idx="16"/>
          </p:nvPr>
        </p:nvSpPr>
        <p:spPr/>
        <p:txBody>
          <a:bodyPr/>
          <a:lstStyle/>
          <a:p>
            <a:fld id="{733122C9-A0B9-462F-8757-0847AD287B63}" type="slidenum">
              <a:rPr lang="fr-FR" smtClean="0"/>
              <a:pPr/>
              <a:t>15</a:t>
            </a:fld>
            <a:endParaRPr lang="fr-FR" dirty="0"/>
          </a:p>
        </p:txBody>
      </p:sp>
      <p:grpSp>
        <p:nvGrpSpPr>
          <p:cNvPr id="31" name="Smart_manufacturing3" descr="{&quot;Key&quot;:&quot;POWER_USER_SHAPE_ICON&quot;,&quot;Value&quot;:&quot;POWER_USER_SHAPE_ICON_STYLE_1&quot;}">
            <a:extLst>
              <a:ext uri="{FF2B5EF4-FFF2-40B4-BE49-F238E27FC236}">
                <a16:creationId xmlns:a16="http://schemas.microsoft.com/office/drawing/2014/main" id="{73842238-A60E-41DF-AFDD-E57018B74541}"/>
              </a:ext>
            </a:extLst>
          </p:cNvPr>
          <p:cNvGrpSpPr>
            <a:grpSpLocks noChangeAspect="1"/>
          </p:cNvGrpSpPr>
          <p:nvPr>
            <p:custDataLst>
              <p:tags r:id="rId3"/>
            </p:custDataLst>
          </p:nvPr>
        </p:nvGrpSpPr>
        <p:grpSpPr>
          <a:xfrm>
            <a:off x="530970" y="2925550"/>
            <a:ext cx="563798" cy="512290"/>
            <a:chOff x="8048626" y="923925"/>
            <a:chExt cx="642938" cy="584200"/>
          </a:xfrm>
          <a:solidFill>
            <a:srgbClr val="C2D8D0"/>
          </a:solidFill>
        </p:grpSpPr>
        <p:sp>
          <p:nvSpPr>
            <p:cNvPr id="32" name="Freeform 471">
              <a:extLst>
                <a:ext uri="{FF2B5EF4-FFF2-40B4-BE49-F238E27FC236}">
                  <a16:creationId xmlns:a16="http://schemas.microsoft.com/office/drawing/2014/main" id="{0704AAE8-9992-4A72-8E39-4C96AA467D85}"/>
                </a:ext>
              </a:extLst>
            </p:cNvPr>
            <p:cNvSpPr>
              <a:spLocks noEditPoints="1"/>
            </p:cNvSpPr>
            <p:nvPr/>
          </p:nvSpPr>
          <p:spPr bwMode="auto">
            <a:xfrm>
              <a:off x="8048626" y="923925"/>
              <a:ext cx="642938" cy="584200"/>
            </a:xfrm>
            <a:custGeom>
              <a:avLst/>
              <a:gdLst>
                <a:gd name="T0" fmla="*/ 16 w 470"/>
                <a:gd name="T1" fmla="*/ 410 h 426"/>
                <a:gd name="T2" fmla="*/ 453 w 470"/>
                <a:gd name="T3" fmla="*/ 410 h 426"/>
                <a:gd name="T4" fmla="*/ 453 w 470"/>
                <a:gd name="T5" fmla="*/ 225 h 426"/>
                <a:gd name="T6" fmla="*/ 370 w 470"/>
                <a:gd name="T7" fmla="*/ 189 h 426"/>
                <a:gd name="T8" fmla="*/ 370 w 470"/>
                <a:gd name="T9" fmla="*/ 232 h 426"/>
                <a:gd name="T10" fmla="*/ 270 w 470"/>
                <a:gd name="T11" fmla="*/ 189 h 426"/>
                <a:gd name="T12" fmla="*/ 270 w 470"/>
                <a:gd name="T13" fmla="*/ 232 h 426"/>
                <a:gd name="T14" fmla="*/ 171 w 470"/>
                <a:gd name="T15" fmla="*/ 189 h 426"/>
                <a:gd name="T16" fmla="*/ 171 w 470"/>
                <a:gd name="T17" fmla="*/ 233 h 426"/>
                <a:gd name="T18" fmla="*/ 96 w 470"/>
                <a:gd name="T19" fmla="*/ 233 h 426"/>
                <a:gd name="T20" fmla="*/ 88 w 470"/>
                <a:gd name="T21" fmla="*/ 17 h 426"/>
                <a:gd name="T22" fmla="*/ 56 w 470"/>
                <a:gd name="T23" fmla="*/ 17 h 426"/>
                <a:gd name="T24" fmla="*/ 49 w 470"/>
                <a:gd name="T25" fmla="*/ 233 h 426"/>
                <a:gd name="T26" fmla="*/ 16 w 470"/>
                <a:gd name="T27" fmla="*/ 233 h 426"/>
                <a:gd name="T28" fmla="*/ 16 w 470"/>
                <a:gd name="T29" fmla="*/ 410 h 426"/>
                <a:gd name="T30" fmla="*/ 470 w 470"/>
                <a:gd name="T31" fmla="*/ 426 h 426"/>
                <a:gd name="T32" fmla="*/ 0 w 470"/>
                <a:gd name="T33" fmla="*/ 426 h 426"/>
                <a:gd name="T34" fmla="*/ 0 w 470"/>
                <a:gd name="T35" fmla="*/ 217 h 426"/>
                <a:gd name="T36" fmla="*/ 32 w 470"/>
                <a:gd name="T37" fmla="*/ 217 h 426"/>
                <a:gd name="T38" fmla="*/ 40 w 470"/>
                <a:gd name="T39" fmla="*/ 0 h 426"/>
                <a:gd name="T40" fmla="*/ 104 w 470"/>
                <a:gd name="T41" fmla="*/ 0 h 426"/>
                <a:gd name="T42" fmla="*/ 112 w 470"/>
                <a:gd name="T43" fmla="*/ 217 h 426"/>
                <a:gd name="T44" fmla="*/ 154 w 470"/>
                <a:gd name="T45" fmla="*/ 217 h 426"/>
                <a:gd name="T46" fmla="*/ 154 w 470"/>
                <a:gd name="T47" fmla="*/ 164 h 426"/>
                <a:gd name="T48" fmla="*/ 254 w 470"/>
                <a:gd name="T49" fmla="*/ 206 h 426"/>
                <a:gd name="T50" fmla="*/ 254 w 470"/>
                <a:gd name="T51" fmla="*/ 164 h 426"/>
                <a:gd name="T52" fmla="*/ 353 w 470"/>
                <a:gd name="T53" fmla="*/ 206 h 426"/>
                <a:gd name="T54" fmla="*/ 353 w 470"/>
                <a:gd name="T55" fmla="*/ 164 h 426"/>
                <a:gd name="T56" fmla="*/ 470 w 470"/>
                <a:gd name="T57" fmla="*/ 214 h 426"/>
                <a:gd name="T58" fmla="*/ 470 w 470"/>
                <a:gd name="T59"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0" h="426">
                  <a:moveTo>
                    <a:pt x="16" y="410"/>
                  </a:moveTo>
                  <a:lnTo>
                    <a:pt x="453" y="410"/>
                  </a:lnTo>
                  <a:lnTo>
                    <a:pt x="453" y="225"/>
                  </a:lnTo>
                  <a:lnTo>
                    <a:pt x="370" y="189"/>
                  </a:lnTo>
                  <a:lnTo>
                    <a:pt x="370" y="232"/>
                  </a:lnTo>
                  <a:lnTo>
                    <a:pt x="270" y="189"/>
                  </a:lnTo>
                  <a:lnTo>
                    <a:pt x="270" y="232"/>
                  </a:lnTo>
                  <a:lnTo>
                    <a:pt x="171" y="189"/>
                  </a:lnTo>
                  <a:lnTo>
                    <a:pt x="171" y="233"/>
                  </a:lnTo>
                  <a:lnTo>
                    <a:pt x="96" y="233"/>
                  </a:lnTo>
                  <a:lnTo>
                    <a:pt x="88" y="17"/>
                  </a:lnTo>
                  <a:lnTo>
                    <a:pt x="56" y="17"/>
                  </a:lnTo>
                  <a:lnTo>
                    <a:pt x="49" y="233"/>
                  </a:lnTo>
                  <a:lnTo>
                    <a:pt x="16" y="233"/>
                  </a:lnTo>
                  <a:lnTo>
                    <a:pt x="16" y="410"/>
                  </a:lnTo>
                  <a:close/>
                  <a:moveTo>
                    <a:pt x="470" y="426"/>
                  </a:moveTo>
                  <a:lnTo>
                    <a:pt x="0" y="426"/>
                  </a:lnTo>
                  <a:lnTo>
                    <a:pt x="0" y="217"/>
                  </a:lnTo>
                  <a:lnTo>
                    <a:pt x="32" y="217"/>
                  </a:lnTo>
                  <a:lnTo>
                    <a:pt x="40" y="0"/>
                  </a:lnTo>
                  <a:lnTo>
                    <a:pt x="104" y="0"/>
                  </a:lnTo>
                  <a:lnTo>
                    <a:pt x="112" y="217"/>
                  </a:lnTo>
                  <a:lnTo>
                    <a:pt x="154" y="217"/>
                  </a:lnTo>
                  <a:lnTo>
                    <a:pt x="154" y="164"/>
                  </a:lnTo>
                  <a:lnTo>
                    <a:pt x="254" y="206"/>
                  </a:lnTo>
                  <a:lnTo>
                    <a:pt x="254" y="164"/>
                  </a:lnTo>
                  <a:lnTo>
                    <a:pt x="353" y="206"/>
                  </a:lnTo>
                  <a:lnTo>
                    <a:pt x="353" y="164"/>
                  </a:lnTo>
                  <a:lnTo>
                    <a:pt x="470" y="214"/>
                  </a:lnTo>
                  <a:lnTo>
                    <a:pt x="470" y="42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472">
              <a:extLst>
                <a:ext uri="{FF2B5EF4-FFF2-40B4-BE49-F238E27FC236}">
                  <a16:creationId xmlns:a16="http://schemas.microsoft.com/office/drawing/2014/main" id="{09BA3DB3-8637-4EDF-9207-9DF4749F43D1}"/>
                </a:ext>
              </a:extLst>
            </p:cNvPr>
            <p:cNvSpPr>
              <a:spLocks noEditPoints="1"/>
            </p:cNvSpPr>
            <p:nvPr/>
          </p:nvSpPr>
          <p:spPr bwMode="auto">
            <a:xfrm>
              <a:off x="8524876" y="1300163"/>
              <a:ext cx="106363" cy="103188"/>
            </a:xfrm>
            <a:custGeom>
              <a:avLst/>
              <a:gdLst>
                <a:gd name="T0" fmla="*/ 17 w 77"/>
                <a:gd name="T1" fmla="*/ 59 h 76"/>
                <a:gd name="T2" fmla="*/ 60 w 77"/>
                <a:gd name="T3" fmla="*/ 59 h 76"/>
                <a:gd name="T4" fmla="*/ 60 w 77"/>
                <a:gd name="T5" fmla="*/ 16 h 76"/>
                <a:gd name="T6" fmla="*/ 17 w 77"/>
                <a:gd name="T7" fmla="*/ 16 h 76"/>
                <a:gd name="T8" fmla="*/ 17 w 77"/>
                <a:gd name="T9" fmla="*/ 59 h 76"/>
                <a:gd name="T10" fmla="*/ 77 w 77"/>
                <a:gd name="T11" fmla="*/ 76 h 76"/>
                <a:gd name="T12" fmla="*/ 0 w 77"/>
                <a:gd name="T13" fmla="*/ 76 h 76"/>
                <a:gd name="T14" fmla="*/ 0 w 77"/>
                <a:gd name="T15" fmla="*/ 0 h 76"/>
                <a:gd name="T16" fmla="*/ 77 w 77"/>
                <a:gd name="T17" fmla="*/ 0 h 76"/>
                <a:gd name="T18" fmla="*/ 77 w 7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6">
                  <a:moveTo>
                    <a:pt x="17" y="59"/>
                  </a:moveTo>
                  <a:lnTo>
                    <a:pt x="60" y="59"/>
                  </a:lnTo>
                  <a:lnTo>
                    <a:pt x="60" y="16"/>
                  </a:lnTo>
                  <a:lnTo>
                    <a:pt x="17" y="16"/>
                  </a:lnTo>
                  <a:lnTo>
                    <a:pt x="17" y="59"/>
                  </a:lnTo>
                  <a:close/>
                  <a:moveTo>
                    <a:pt x="77" y="76"/>
                  </a:moveTo>
                  <a:lnTo>
                    <a:pt x="0" y="76"/>
                  </a:lnTo>
                  <a:lnTo>
                    <a:pt x="0" y="0"/>
                  </a:lnTo>
                  <a:lnTo>
                    <a:pt x="77" y="0"/>
                  </a:lnTo>
                  <a:lnTo>
                    <a:pt x="77"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473">
              <a:extLst>
                <a:ext uri="{FF2B5EF4-FFF2-40B4-BE49-F238E27FC236}">
                  <a16:creationId xmlns:a16="http://schemas.microsoft.com/office/drawing/2014/main" id="{3CF93E9B-D52E-4136-8A1D-291DA472834B}"/>
                </a:ext>
              </a:extLst>
            </p:cNvPr>
            <p:cNvSpPr>
              <a:spLocks noEditPoints="1"/>
            </p:cNvSpPr>
            <p:nvPr/>
          </p:nvSpPr>
          <p:spPr bwMode="auto">
            <a:xfrm>
              <a:off x="8393113" y="1300163"/>
              <a:ext cx="103188"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474">
              <a:extLst>
                <a:ext uri="{FF2B5EF4-FFF2-40B4-BE49-F238E27FC236}">
                  <a16:creationId xmlns:a16="http://schemas.microsoft.com/office/drawing/2014/main" id="{AD1DC7E9-8066-4E8C-8F02-2B0E3524CA21}"/>
                </a:ext>
              </a:extLst>
            </p:cNvPr>
            <p:cNvSpPr>
              <a:spLocks noEditPoints="1"/>
            </p:cNvSpPr>
            <p:nvPr/>
          </p:nvSpPr>
          <p:spPr bwMode="auto">
            <a:xfrm>
              <a:off x="8259763" y="1300163"/>
              <a:ext cx="104775"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Assembling2" descr="{&quot;Key&quot;:&quot;POWER_USER_SHAPE_ICON&quot;,&quot;Value&quot;:&quot;POWER_USER_SHAPE_ICON_STYLE_1&quot;}">
            <a:extLst>
              <a:ext uri="{FF2B5EF4-FFF2-40B4-BE49-F238E27FC236}">
                <a16:creationId xmlns:a16="http://schemas.microsoft.com/office/drawing/2014/main" id="{39B1151B-CF89-489F-A553-0D65C5B97BFF}"/>
              </a:ext>
            </a:extLst>
          </p:cNvPr>
          <p:cNvGrpSpPr>
            <a:grpSpLocks noChangeAspect="1"/>
          </p:cNvGrpSpPr>
          <p:nvPr/>
        </p:nvGrpSpPr>
        <p:grpSpPr>
          <a:xfrm>
            <a:off x="3641455" y="2925550"/>
            <a:ext cx="489523" cy="542925"/>
            <a:chOff x="4249738" y="6434138"/>
            <a:chExt cx="261938" cy="290513"/>
          </a:xfrm>
          <a:solidFill>
            <a:srgbClr val="C2D8D0"/>
          </a:solidFill>
        </p:grpSpPr>
        <p:sp>
          <p:nvSpPr>
            <p:cNvPr id="124" name="Freeform 189">
              <a:extLst>
                <a:ext uri="{FF2B5EF4-FFF2-40B4-BE49-F238E27FC236}">
                  <a16:creationId xmlns:a16="http://schemas.microsoft.com/office/drawing/2014/main" id="{177E3AF4-930F-45E6-B560-ECC259B35B9B}"/>
                </a:ext>
              </a:extLst>
            </p:cNvPr>
            <p:cNvSpPr>
              <a:spLocks/>
            </p:cNvSpPr>
            <p:nvPr/>
          </p:nvSpPr>
          <p:spPr bwMode="auto">
            <a:xfrm>
              <a:off x="4259263" y="6597650"/>
              <a:ext cx="26988"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9"/>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90">
              <a:extLst>
                <a:ext uri="{FF2B5EF4-FFF2-40B4-BE49-F238E27FC236}">
                  <a16:creationId xmlns:a16="http://schemas.microsoft.com/office/drawing/2014/main" id="{0CC8E622-29BF-41AD-AA36-84DA6B9D86DA}"/>
                </a:ext>
              </a:extLst>
            </p:cNvPr>
            <p:cNvSpPr>
              <a:spLocks/>
            </p:cNvSpPr>
            <p:nvPr/>
          </p:nvSpPr>
          <p:spPr bwMode="auto">
            <a:xfrm>
              <a:off x="4313238" y="6597650"/>
              <a:ext cx="26988" cy="25400"/>
            </a:xfrm>
            <a:custGeom>
              <a:avLst/>
              <a:gdLst>
                <a:gd name="T0" fmla="*/ 112 w 129"/>
                <a:gd name="T1" fmla="*/ 65 h 129"/>
                <a:gd name="T2" fmla="*/ 96 w 129"/>
                <a:gd name="T3" fmla="*/ 65 h 129"/>
                <a:gd name="T4" fmla="*/ 64 w 129"/>
                <a:gd name="T5" fmla="*/ 96 h 129"/>
                <a:gd name="T6" fmla="*/ 33 w 129"/>
                <a:gd name="T7" fmla="*/ 65 h 129"/>
                <a:gd name="T8" fmla="*/ 64 w 129"/>
                <a:gd name="T9" fmla="*/ 34 h 129"/>
                <a:gd name="T10" fmla="*/ 96 w 129"/>
                <a:gd name="T11" fmla="*/ 65 h 129"/>
                <a:gd name="T12" fmla="*/ 112 w 129"/>
                <a:gd name="T13" fmla="*/ 65 h 129"/>
                <a:gd name="T14" fmla="*/ 129 w 129"/>
                <a:gd name="T15" fmla="*/ 65 h 129"/>
                <a:gd name="T16" fmla="*/ 64 w 129"/>
                <a:gd name="T17" fmla="*/ 0 h 129"/>
                <a:gd name="T18" fmla="*/ 0 w 129"/>
                <a:gd name="T19" fmla="*/ 65 h 129"/>
                <a:gd name="T20" fmla="*/ 64 w 129"/>
                <a:gd name="T21" fmla="*/ 129 h 129"/>
                <a:gd name="T22" fmla="*/ 129 w 129"/>
                <a:gd name="T23" fmla="*/ 65 h 129"/>
                <a:gd name="T24" fmla="*/ 112 w 129"/>
                <a:gd name="T2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2" y="65"/>
                  </a:moveTo>
                  <a:lnTo>
                    <a:pt x="96" y="65"/>
                  </a:lnTo>
                  <a:cubicBezTo>
                    <a:pt x="96" y="82"/>
                    <a:pt x="82" y="96"/>
                    <a:pt x="64" y="96"/>
                  </a:cubicBezTo>
                  <a:cubicBezTo>
                    <a:pt x="47" y="96"/>
                    <a:pt x="33" y="82"/>
                    <a:pt x="33" y="65"/>
                  </a:cubicBezTo>
                  <a:cubicBezTo>
                    <a:pt x="33" y="48"/>
                    <a:pt x="47" y="34"/>
                    <a:pt x="64" y="34"/>
                  </a:cubicBezTo>
                  <a:cubicBezTo>
                    <a:pt x="82" y="34"/>
                    <a:pt x="96" y="48"/>
                    <a:pt x="96" y="65"/>
                  </a:cubicBezTo>
                  <a:lnTo>
                    <a:pt x="112" y="65"/>
                  </a:lnTo>
                  <a:lnTo>
                    <a:pt x="129" y="65"/>
                  </a:lnTo>
                  <a:cubicBezTo>
                    <a:pt x="129" y="29"/>
                    <a:pt x="100" y="0"/>
                    <a:pt x="64" y="0"/>
                  </a:cubicBezTo>
                  <a:cubicBezTo>
                    <a:pt x="29" y="0"/>
                    <a:pt x="0" y="29"/>
                    <a:pt x="0" y="65"/>
                  </a:cubicBezTo>
                  <a:cubicBezTo>
                    <a:pt x="0" y="100"/>
                    <a:pt x="29" y="129"/>
                    <a:pt x="64" y="129"/>
                  </a:cubicBezTo>
                  <a:cubicBezTo>
                    <a:pt x="100" y="129"/>
                    <a:pt x="129" y="100"/>
                    <a:pt x="129" y="65"/>
                  </a:cubicBezTo>
                  <a:lnTo>
                    <a:pt x="112" y="6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91">
              <a:extLst>
                <a:ext uri="{FF2B5EF4-FFF2-40B4-BE49-F238E27FC236}">
                  <a16:creationId xmlns:a16="http://schemas.microsoft.com/office/drawing/2014/main" id="{1B8D048C-9B19-4389-B5DD-57A391BFBA62}"/>
                </a:ext>
              </a:extLst>
            </p:cNvPr>
            <p:cNvSpPr>
              <a:spLocks/>
            </p:cNvSpPr>
            <p:nvPr/>
          </p:nvSpPr>
          <p:spPr bwMode="auto">
            <a:xfrm>
              <a:off x="4367213" y="6597650"/>
              <a:ext cx="26988" cy="25400"/>
            </a:xfrm>
            <a:custGeom>
              <a:avLst/>
              <a:gdLst>
                <a:gd name="T0" fmla="*/ 113 w 129"/>
                <a:gd name="T1" fmla="*/ 64 h 129"/>
                <a:gd name="T2" fmla="*/ 96 w 129"/>
                <a:gd name="T3" fmla="*/ 64 h 129"/>
                <a:gd name="T4" fmla="*/ 65 w 129"/>
                <a:gd name="T5" fmla="*/ 96 h 129"/>
                <a:gd name="T6" fmla="*/ 65 w 129"/>
                <a:gd name="T7" fmla="*/ 96 h 129"/>
                <a:gd name="T8" fmla="*/ 34 w 129"/>
                <a:gd name="T9" fmla="*/ 65 h 129"/>
                <a:gd name="T10" fmla="*/ 65 w 129"/>
                <a:gd name="T11" fmla="*/ 34 h 129"/>
                <a:gd name="T12" fmla="*/ 96 w 129"/>
                <a:gd name="T13" fmla="*/ 65 h 129"/>
                <a:gd name="T14" fmla="*/ 113 w 129"/>
                <a:gd name="T15" fmla="*/ 64 h 129"/>
                <a:gd name="T16" fmla="*/ 129 w 129"/>
                <a:gd name="T17" fmla="*/ 64 h 129"/>
                <a:gd name="T18" fmla="*/ 65 w 129"/>
                <a:gd name="T19" fmla="*/ 0 h 129"/>
                <a:gd name="T20" fmla="*/ 0 w 129"/>
                <a:gd name="T21" fmla="*/ 65 h 129"/>
                <a:gd name="T22" fmla="*/ 65 w 129"/>
                <a:gd name="T23" fmla="*/ 129 h 129"/>
                <a:gd name="T24" fmla="*/ 129 w 129"/>
                <a:gd name="T25" fmla="*/ 64 h 129"/>
                <a:gd name="T26" fmla="*/ 129 w 129"/>
                <a:gd name="T27" fmla="*/ 64 h 129"/>
                <a:gd name="T28" fmla="*/ 113 w 129"/>
                <a:gd name="T2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29">
                  <a:moveTo>
                    <a:pt x="113" y="64"/>
                  </a:moveTo>
                  <a:lnTo>
                    <a:pt x="96" y="64"/>
                  </a:lnTo>
                  <a:cubicBezTo>
                    <a:pt x="96" y="82"/>
                    <a:pt x="82" y="96"/>
                    <a:pt x="65" y="96"/>
                  </a:cubicBezTo>
                  <a:lnTo>
                    <a:pt x="65" y="96"/>
                  </a:lnTo>
                  <a:cubicBezTo>
                    <a:pt x="48" y="96"/>
                    <a:pt x="34" y="82"/>
                    <a:pt x="34" y="65"/>
                  </a:cubicBezTo>
                  <a:cubicBezTo>
                    <a:pt x="34" y="47"/>
                    <a:pt x="48" y="34"/>
                    <a:pt x="65" y="34"/>
                  </a:cubicBezTo>
                  <a:cubicBezTo>
                    <a:pt x="82" y="34"/>
                    <a:pt x="96" y="47"/>
                    <a:pt x="96" y="65"/>
                  </a:cubicBezTo>
                  <a:lnTo>
                    <a:pt x="113" y="64"/>
                  </a:lnTo>
                  <a:lnTo>
                    <a:pt x="129" y="64"/>
                  </a:lnTo>
                  <a:cubicBezTo>
                    <a:pt x="129" y="29"/>
                    <a:pt x="100" y="0"/>
                    <a:pt x="65" y="0"/>
                  </a:cubicBezTo>
                  <a:cubicBezTo>
                    <a:pt x="29" y="0"/>
                    <a:pt x="0" y="29"/>
                    <a:pt x="0" y="65"/>
                  </a:cubicBezTo>
                  <a:cubicBezTo>
                    <a:pt x="0" y="100"/>
                    <a:pt x="29" y="129"/>
                    <a:pt x="65" y="129"/>
                  </a:cubicBezTo>
                  <a:cubicBezTo>
                    <a:pt x="101" y="129"/>
                    <a:pt x="129" y="100"/>
                    <a:pt x="129" y="64"/>
                  </a:cubicBezTo>
                  <a:lnTo>
                    <a:pt x="129" y="64"/>
                  </a:ln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92">
              <a:extLst>
                <a:ext uri="{FF2B5EF4-FFF2-40B4-BE49-F238E27FC236}">
                  <a16:creationId xmlns:a16="http://schemas.microsoft.com/office/drawing/2014/main" id="{4B689080-8C62-48E2-B38A-20C7745BE010}"/>
                </a:ext>
              </a:extLst>
            </p:cNvPr>
            <p:cNvSpPr>
              <a:spLocks/>
            </p:cNvSpPr>
            <p:nvPr/>
          </p:nvSpPr>
          <p:spPr bwMode="auto">
            <a:xfrm>
              <a:off x="4421188" y="6597650"/>
              <a:ext cx="26988" cy="25400"/>
            </a:xfrm>
            <a:custGeom>
              <a:avLst/>
              <a:gdLst>
                <a:gd name="T0" fmla="*/ 112 w 129"/>
                <a:gd name="T1" fmla="*/ 64 h 129"/>
                <a:gd name="T2" fmla="*/ 96 w 129"/>
                <a:gd name="T3" fmla="*/ 64 h 129"/>
                <a:gd name="T4" fmla="*/ 64 w 129"/>
                <a:gd name="T5" fmla="*/ 95 h 129"/>
                <a:gd name="T6" fmla="*/ 33 w 129"/>
                <a:gd name="T7" fmla="*/ 64 h 129"/>
                <a:gd name="T8" fmla="*/ 64 w 129"/>
                <a:gd name="T9" fmla="*/ 33 h 129"/>
                <a:gd name="T10" fmla="*/ 96 w 129"/>
                <a:gd name="T11" fmla="*/ 64 h 129"/>
                <a:gd name="T12" fmla="*/ 112 w 129"/>
                <a:gd name="T13" fmla="*/ 64 h 129"/>
                <a:gd name="T14" fmla="*/ 129 w 129"/>
                <a:gd name="T15" fmla="*/ 64 h 129"/>
                <a:gd name="T16" fmla="*/ 64 w 129"/>
                <a:gd name="T17" fmla="*/ 0 h 129"/>
                <a:gd name="T18" fmla="*/ 0 w 129"/>
                <a:gd name="T19" fmla="*/ 64 h 129"/>
                <a:gd name="T20" fmla="*/ 64 w 129"/>
                <a:gd name="T21" fmla="*/ 129 h 129"/>
                <a:gd name="T22" fmla="*/ 129 w 129"/>
                <a:gd name="T23" fmla="*/ 64 h 129"/>
                <a:gd name="T24" fmla="*/ 129 w 129"/>
                <a:gd name="T25" fmla="*/ 64 h 129"/>
                <a:gd name="T26" fmla="*/ 112 w 129"/>
                <a:gd name="T2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129">
                  <a:moveTo>
                    <a:pt x="112" y="64"/>
                  </a:moveTo>
                  <a:lnTo>
                    <a:pt x="96" y="64"/>
                  </a:lnTo>
                  <a:cubicBezTo>
                    <a:pt x="96" y="82"/>
                    <a:pt x="82" y="95"/>
                    <a:pt x="64" y="95"/>
                  </a:cubicBezTo>
                  <a:cubicBezTo>
                    <a:pt x="47" y="95"/>
                    <a:pt x="33" y="82"/>
                    <a:pt x="33" y="64"/>
                  </a:cubicBezTo>
                  <a:cubicBezTo>
                    <a:pt x="33" y="47"/>
                    <a:pt x="47" y="33"/>
                    <a:pt x="64" y="33"/>
                  </a:cubicBezTo>
                  <a:cubicBezTo>
                    <a:pt x="82" y="33"/>
                    <a:pt x="96" y="47"/>
                    <a:pt x="96" y="64"/>
                  </a:cubicBezTo>
                  <a:lnTo>
                    <a:pt x="112" y="64"/>
                  </a:lnTo>
                  <a:lnTo>
                    <a:pt x="129" y="64"/>
                  </a:lnTo>
                  <a:cubicBezTo>
                    <a:pt x="129" y="29"/>
                    <a:pt x="100" y="0"/>
                    <a:pt x="64" y="0"/>
                  </a:cubicBezTo>
                  <a:cubicBezTo>
                    <a:pt x="29" y="0"/>
                    <a:pt x="0" y="29"/>
                    <a:pt x="0" y="64"/>
                  </a:cubicBezTo>
                  <a:cubicBezTo>
                    <a:pt x="0" y="100"/>
                    <a:pt x="29" y="129"/>
                    <a:pt x="64" y="129"/>
                  </a:cubicBezTo>
                  <a:cubicBezTo>
                    <a:pt x="100" y="129"/>
                    <a:pt x="129" y="100"/>
                    <a:pt x="129" y="64"/>
                  </a:cubicBezTo>
                  <a:lnTo>
                    <a:pt x="129" y="64"/>
                  </a:lnTo>
                  <a:lnTo>
                    <a:pt x="112"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93">
              <a:extLst>
                <a:ext uri="{FF2B5EF4-FFF2-40B4-BE49-F238E27FC236}">
                  <a16:creationId xmlns:a16="http://schemas.microsoft.com/office/drawing/2014/main" id="{688B21DF-E2FD-43A2-BCE9-9B0D84D2335C}"/>
                </a:ext>
              </a:extLst>
            </p:cNvPr>
            <p:cNvSpPr>
              <a:spLocks/>
            </p:cNvSpPr>
            <p:nvPr/>
          </p:nvSpPr>
          <p:spPr bwMode="auto">
            <a:xfrm>
              <a:off x="4475163" y="6597650"/>
              <a:ext cx="25400"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8"/>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194">
              <a:extLst>
                <a:ext uri="{FF2B5EF4-FFF2-40B4-BE49-F238E27FC236}">
                  <a16:creationId xmlns:a16="http://schemas.microsoft.com/office/drawing/2014/main" id="{6CA5B73D-3DF4-4FAF-8D4B-864913A0CE5C}"/>
                </a:ext>
              </a:extLst>
            </p:cNvPr>
            <p:cNvSpPr>
              <a:spLocks/>
            </p:cNvSpPr>
            <p:nvPr/>
          </p:nvSpPr>
          <p:spPr bwMode="auto">
            <a:xfrm>
              <a:off x="4249738" y="6589713"/>
              <a:ext cx="261938" cy="41275"/>
            </a:xfrm>
            <a:custGeom>
              <a:avLst/>
              <a:gdLst>
                <a:gd name="T0" fmla="*/ 1174 w 1276"/>
                <a:gd name="T1" fmla="*/ 187 h 205"/>
                <a:gd name="T2" fmla="*/ 1174 w 1276"/>
                <a:gd name="T3" fmla="*/ 171 h 205"/>
                <a:gd name="T4" fmla="*/ 102 w 1276"/>
                <a:gd name="T5" fmla="*/ 172 h 205"/>
                <a:gd name="T6" fmla="*/ 34 w 1276"/>
                <a:gd name="T7" fmla="*/ 103 h 205"/>
                <a:gd name="T8" fmla="*/ 102 w 1276"/>
                <a:gd name="T9" fmla="*/ 35 h 205"/>
                <a:gd name="T10" fmla="*/ 1174 w 1276"/>
                <a:gd name="T11" fmla="*/ 33 h 205"/>
                <a:gd name="T12" fmla="*/ 1242 w 1276"/>
                <a:gd name="T13" fmla="*/ 102 h 205"/>
                <a:gd name="T14" fmla="*/ 1174 w 1276"/>
                <a:gd name="T15" fmla="*/ 171 h 205"/>
                <a:gd name="T16" fmla="*/ 1174 w 1276"/>
                <a:gd name="T17" fmla="*/ 187 h 205"/>
                <a:gd name="T18" fmla="*/ 1174 w 1276"/>
                <a:gd name="T19" fmla="*/ 204 h 205"/>
                <a:gd name="T20" fmla="*/ 1276 w 1276"/>
                <a:gd name="T21" fmla="*/ 102 h 205"/>
                <a:gd name="T22" fmla="*/ 1174 w 1276"/>
                <a:gd name="T23" fmla="*/ 0 h 205"/>
                <a:gd name="T24" fmla="*/ 102 w 1276"/>
                <a:gd name="T25" fmla="*/ 1 h 205"/>
                <a:gd name="T26" fmla="*/ 0 w 1276"/>
                <a:gd name="T27" fmla="*/ 103 h 205"/>
                <a:gd name="T28" fmla="*/ 102 w 1276"/>
                <a:gd name="T29" fmla="*/ 205 h 205"/>
                <a:gd name="T30" fmla="*/ 1174 w 1276"/>
                <a:gd name="T31" fmla="*/ 204 h 205"/>
                <a:gd name="T32" fmla="*/ 1174 w 1276"/>
                <a:gd name="T33" fmla="*/ 1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6" h="205">
                  <a:moveTo>
                    <a:pt x="1174" y="187"/>
                  </a:moveTo>
                  <a:lnTo>
                    <a:pt x="1174" y="171"/>
                  </a:lnTo>
                  <a:lnTo>
                    <a:pt x="102" y="172"/>
                  </a:lnTo>
                  <a:cubicBezTo>
                    <a:pt x="64" y="172"/>
                    <a:pt x="34" y="141"/>
                    <a:pt x="34" y="103"/>
                  </a:cubicBezTo>
                  <a:cubicBezTo>
                    <a:pt x="34" y="65"/>
                    <a:pt x="64" y="35"/>
                    <a:pt x="102" y="35"/>
                  </a:cubicBezTo>
                  <a:lnTo>
                    <a:pt x="1174" y="33"/>
                  </a:lnTo>
                  <a:cubicBezTo>
                    <a:pt x="1212" y="33"/>
                    <a:pt x="1242" y="64"/>
                    <a:pt x="1242" y="102"/>
                  </a:cubicBezTo>
                  <a:cubicBezTo>
                    <a:pt x="1242" y="140"/>
                    <a:pt x="1212" y="170"/>
                    <a:pt x="1174" y="171"/>
                  </a:cubicBezTo>
                  <a:lnTo>
                    <a:pt x="1174" y="187"/>
                  </a:lnTo>
                  <a:lnTo>
                    <a:pt x="1174" y="204"/>
                  </a:lnTo>
                  <a:cubicBezTo>
                    <a:pt x="1230" y="204"/>
                    <a:pt x="1276" y="158"/>
                    <a:pt x="1276" y="102"/>
                  </a:cubicBezTo>
                  <a:cubicBezTo>
                    <a:pt x="1275" y="46"/>
                    <a:pt x="1230" y="0"/>
                    <a:pt x="1174" y="0"/>
                  </a:cubicBezTo>
                  <a:lnTo>
                    <a:pt x="102" y="1"/>
                  </a:lnTo>
                  <a:cubicBezTo>
                    <a:pt x="46" y="1"/>
                    <a:pt x="0" y="47"/>
                    <a:pt x="0" y="103"/>
                  </a:cubicBezTo>
                  <a:cubicBezTo>
                    <a:pt x="0" y="159"/>
                    <a:pt x="46" y="205"/>
                    <a:pt x="102" y="205"/>
                  </a:cubicBezTo>
                  <a:lnTo>
                    <a:pt x="1174" y="204"/>
                  </a:lnTo>
                  <a:lnTo>
                    <a:pt x="1174" y="18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95">
              <a:extLst>
                <a:ext uri="{FF2B5EF4-FFF2-40B4-BE49-F238E27FC236}">
                  <a16:creationId xmlns:a16="http://schemas.microsoft.com/office/drawing/2014/main" id="{1ACE2669-A036-4468-98C2-045D2732A3CB}"/>
                </a:ext>
              </a:extLst>
            </p:cNvPr>
            <p:cNvSpPr>
              <a:spLocks/>
            </p:cNvSpPr>
            <p:nvPr/>
          </p:nvSpPr>
          <p:spPr bwMode="auto">
            <a:xfrm>
              <a:off x="4270376" y="6494463"/>
              <a:ext cx="100013" cy="101600"/>
            </a:xfrm>
            <a:custGeom>
              <a:avLst/>
              <a:gdLst>
                <a:gd name="T0" fmla="*/ 468 w 485"/>
                <a:gd name="T1" fmla="*/ 461 h 496"/>
                <a:gd name="T2" fmla="*/ 34 w 485"/>
                <a:gd name="T3" fmla="*/ 462 h 496"/>
                <a:gd name="T4" fmla="*/ 33 w 485"/>
                <a:gd name="T5" fmla="*/ 264 h 496"/>
                <a:gd name="T6" fmla="*/ 77 w 485"/>
                <a:gd name="T7" fmla="*/ 183 h 496"/>
                <a:gd name="T8" fmla="*/ 77 w 485"/>
                <a:gd name="T9" fmla="*/ 183 h 496"/>
                <a:gd name="T10" fmla="*/ 141 w 485"/>
                <a:gd name="T11" fmla="*/ 141 h 496"/>
                <a:gd name="T12" fmla="*/ 141 w 485"/>
                <a:gd name="T13" fmla="*/ 141 h 496"/>
                <a:gd name="T14" fmla="*/ 189 w 485"/>
                <a:gd name="T15" fmla="*/ 51 h 496"/>
                <a:gd name="T16" fmla="*/ 189 w 485"/>
                <a:gd name="T17" fmla="*/ 46 h 496"/>
                <a:gd name="T18" fmla="*/ 173 w 485"/>
                <a:gd name="T19" fmla="*/ 46 h 496"/>
                <a:gd name="T20" fmla="*/ 160 w 485"/>
                <a:gd name="T21" fmla="*/ 57 h 496"/>
                <a:gd name="T22" fmla="*/ 242 w 485"/>
                <a:gd name="T23" fmla="*/ 98 h 496"/>
                <a:gd name="T24" fmla="*/ 325 w 485"/>
                <a:gd name="T25" fmla="*/ 57 h 496"/>
                <a:gd name="T26" fmla="*/ 312 w 485"/>
                <a:gd name="T27" fmla="*/ 46 h 496"/>
                <a:gd name="T28" fmla="*/ 295 w 485"/>
                <a:gd name="T29" fmla="*/ 46 h 496"/>
                <a:gd name="T30" fmla="*/ 295 w 485"/>
                <a:gd name="T31" fmla="*/ 51 h 496"/>
                <a:gd name="T32" fmla="*/ 343 w 485"/>
                <a:gd name="T33" fmla="*/ 141 h 496"/>
                <a:gd name="T34" fmla="*/ 408 w 485"/>
                <a:gd name="T35" fmla="*/ 183 h 496"/>
                <a:gd name="T36" fmla="*/ 408 w 485"/>
                <a:gd name="T37" fmla="*/ 183 h 496"/>
                <a:gd name="T38" fmla="*/ 452 w 485"/>
                <a:gd name="T39" fmla="*/ 264 h 496"/>
                <a:gd name="T40" fmla="*/ 452 w 485"/>
                <a:gd name="T41" fmla="*/ 292 h 496"/>
                <a:gd name="T42" fmla="*/ 485 w 485"/>
                <a:gd name="T43" fmla="*/ 292 h 496"/>
                <a:gd name="T44" fmla="*/ 485 w 485"/>
                <a:gd name="T45" fmla="*/ 264 h 496"/>
                <a:gd name="T46" fmla="*/ 426 w 485"/>
                <a:gd name="T47" fmla="*/ 155 h 496"/>
                <a:gd name="T48" fmla="*/ 426 w 485"/>
                <a:gd name="T49" fmla="*/ 155 h 496"/>
                <a:gd name="T50" fmla="*/ 362 w 485"/>
                <a:gd name="T51" fmla="*/ 113 h 496"/>
                <a:gd name="T52" fmla="*/ 329 w 485"/>
                <a:gd name="T53" fmla="*/ 51 h 496"/>
                <a:gd name="T54" fmla="*/ 329 w 485"/>
                <a:gd name="T55" fmla="*/ 46 h 496"/>
                <a:gd name="T56" fmla="*/ 329 w 485"/>
                <a:gd name="T57" fmla="*/ 0 h 496"/>
                <a:gd name="T58" fmla="*/ 299 w 485"/>
                <a:gd name="T59" fmla="*/ 35 h 496"/>
                <a:gd name="T60" fmla="*/ 242 w 485"/>
                <a:gd name="T61" fmla="*/ 64 h 496"/>
                <a:gd name="T62" fmla="*/ 185 w 485"/>
                <a:gd name="T63" fmla="*/ 35 h 496"/>
                <a:gd name="T64" fmla="*/ 156 w 485"/>
                <a:gd name="T65" fmla="*/ 1 h 496"/>
                <a:gd name="T66" fmla="*/ 156 w 485"/>
                <a:gd name="T67" fmla="*/ 51 h 496"/>
                <a:gd name="T68" fmla="*/ 123 w 485"/>
                <a:gd name="T69" fmla="*/ 113 h 496"/>
                <a:gd name="T70" fmla="*/ 123 w 485"/>
                <a:gd name="T71" fmla="*/ 113 h 496"/>
                <a:gd name="T72" fmla="*/ 59 w 485"/>
                <a:gd name="T73" fmla="*/ 155 h 496"/>
                <a:gd name="T74" fmla="*/ 59 w 485"/>
                <a:gd name="T75" fmla="*/ 155 h 496"/>
                <a:gd name="T76" fmla="*/ 0 w 485"/>
                <a:gd name="T77" fmla="*/ 264 h 496"/>
                <a:gd name="T78" fmla="*/ 0 w 485"/>
                <a:gd name="T79" fmla="*/ 496 h 496"/>
                <a:gd name="T80" fmla="*/ 468 w 485"/>
                <a:gd name="T81" fmla="*/ 494 h 496"/>
                <a:gd name="T82" fmla="*/ 468 w 485"/>
                <a:gd name="T83" fmla="*/ 46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96">
                  <a:moveTo>
                    <a:pt x="468" y="461"/>
                  </a:moveTo>
                  <a:lnTo>
                    <a:pt x="34" y="462"/>
                  </a:lnTo>
                  <a:lnTo>
                    <a:pt x="33" y="264"/>
                  </a:lnTo>
                  <a:cubicBezTo>
                    <a:pt x="33" y="231"/>
                    <a:pt x="50" y="201"/>
                    <a:pt x="77" y="183"/>
                  </a:cubicBezTo>
                  <a:lnTo>
                    <a:pt x="77" y="183"/>
                  </a:lnTo>
                  <a:lnTo>
                    <a:pt x="141" y="141"/>
                  </a:lnTo>
                  <a:lnTo>
                    <a:pt x="141" y="141"/>
                  </a:lnTo>
                  <a:cubicBezTo>
                    <a:pt x="171" y="121"/>
                    <a:pt x="189" y="87"/>
                    <a:pt x="189" y="51"/>
                  </a:cubicBezTo>
                  <a:lnTo>
                    <a:pt x="189" y="46"/>
                  </a:lnTo>
                  <a:lnTo>
                    <a:pt x="173" y="46"/>
                  </a:lnTo>
                  <a:lnTo>
                    <a:pt x="160" y="57"/>
                  </a:lnTo>
                  <a:cubicBezTo>
                    <a:pt x="181" y="82"/>
                    <a:pt x="210" y="98"/>
                    <a:pt x="242" y="98"/>
                  </a:cubicBezTo>
                  <a:cubicBezTo>
                    <a:pt x="275" y="98"/>
                    <a:pt x="304" y="82"/>
                    <a:pt x="325" y="57"/>
                  </a:cubicBezTo>
                  <a:lnTo>
                    <a:pt x="312" y="46"/>
                  </a:lnTo>
                  <a:lnTo>
                    <a:pt x="295" y="46"/>
                  </a:lnTo>
                  <a:lnTo>
                    <a:pt x="295" y="51"/>
                  </a:lnTo>
                  <a:cubicBezTo>
                    <a:pt x="295" y="87"/>
                    <a:pt x="313" y="121"/>
                    <a:pt x="343" y="141"/>
                  </a:cubicBezTo>
                  <a:lnTo>
                    <a:pt x="408" y="183"/>
                  </a:lnTo>
                  <a:lnTo>
                    <a:pt x="408" y="183"/>
                  </a:lnTo>
                  <a:cubicBezTo>
                    <a:pt x="435" y="201"/>
                    <a:pt x="451" y="231"/>
                    <a:pt x="452" y="264"/>
                  </a:cubicBezTo>
                  <a:lnTo>
                    <a:pt x="452" y="292"/>
                  </a:lnTo>
                  <a:lnTo>
                    <a:pt x="485" y="292"/>
                  </a:lnTo>
                  <a:lnTo>
                    <a:pt x="485" y="264"/>
                  </a:lnTo>
                  <a:cubicBezTo>
                    <a:pt x="485" y="220"/>
                    <a:pt x="463" y="179"/>
                    <a:pt x="426" y="155"/>
                  </a:cubicBezTo>
                  <a:lnTo>
                    <a:pt x="426" y="155"/>
                  </a:lnTo>
                  <a:lnTo>
                    <a:pt x="362" y="113"/>
                  </a:lnTo>
                  <a:cubicBezTo>
                    <a:pt x="341" y="99"/>
                    <a:pt x="329" y="76"/>
                    <a:pt x="329" y="51"/>
                  </a:cubicBezTo>
                  <a:lnTo>
                    <a:pt x="329" y="46"/>
                  </a:lnTo>
                  <a:lnTo>
                    <a:pt x="329" y="0"/>
                  </a:lnTo>
                  <a:lnTo>
                    <a:pt x="299" y="35"/>
                  </a:lnTo>
                  <a:cubicBezTo>
                    <a:pt x="283" y="54"/>
                    <a:pt x="263" y="64"/>
                    <a:pt x="242" y="64"/>
                  </a:cubicBezTo>
                  <a:cubicBezTo>
                    <a:pt x="221" y="64"/>
                    <a:pt x="202" y="54"/>
                    <a:pt x="185" y="35"/>
                  </a:cubicBezTo>
                  <a:lnTo>
                    <a:pt x="156" y="1"/>
                  </a:lnTo>
                  <a:lnTo>
                    <a:pt x="156" y="51"/>
                  </a:lnTo>
                  <a:cubicBezTo>
                    <a:pt x="156" y="76"/>
                    <a:pt x="143" y="99"/>
                    <a:pt x="123" y="113"/>
                  </a:cubicBezTo>
                  <a:lnTo>
                    <a:pt x="123" y="113"/>
                  </a:lnTo>
                  <a:lnTo>
                    <a:pt x="59" y="155"/>
                  </a:lnTo>
                  <a:lnTo>
                    <a:pt x="59" y="155"/>
                  </a:lnTo>
                  <a:cubicBezTo>
                    <a:pt x="22" y="179"/>
                    <a:pt x="0" y="220"/>
                    <a:pt x="0" y="264"/>
                  </a:cubicBezTo>
                  <a:lnTo>
                    <a:pt x="0" y="496"/>
                  </a:lnTo>
                  <a:lnTo>
                    <a:pt x="468" y="494"/>
                  </a:lnTo>
                  <a:lnTo>
                    <a:pt x="468" y="461"/>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196">
              <a:extLst>
                <a:ext uri="{FF2B5EF4-FFF2-40B4-BE49-F238E27FC236}">
                  <a16:creationId xmlns:a16="http://schemas.microsoft.com/office/drawing/2014/main" id="{8324EDA1-41A4-49F3-90EF-063BDFCF67E8}"/>
                </a:ext>
              </a:extLst>
            </p:cNvPr>
            <p:cNvSpPr>
              <a:spLocks/>
            </p:cNvSpPr>
            <p:nvPr/>
          </p:nvSpPr>
          <p:spPr bwMode="auto">
            <a:xfrm>
              <a:off x="4294188" y="6477000"/>
              <a:ext cx="50800" cy="38100"/>
            </a:xfrm>
            <a:custGeom>
              <a:avLst/>
              <a:gdLst>
                <a:gd name="T0" fmla="*/ 231 w 248"/>
                <a:gd name="T1" fmla="*/ 17 h 180"/>
                <a:gd name="T2" fmla="*/ 215 w 248"/>
                <a:gd name="T3" fmla="*/ 17 h 180"/>
                <a:gd name="T4" fmla="*/ 181 w 248"/>
                <a:gd name="T5" fmla="*/ 117 h 180"/>
                <a:gd name="T6" fmla="*/ 181 w 248"/>
                <a:gd name="T7" fmla="*/ 117 h 180"/>
                <a:gd name="T8" fmla="*/ 124 w 248"/>
                <a:gd name="T9" fmla="*/ 146 h 180"/>
                <a:gd name="T10" fmla="*/ 67 w 248"/>
                <a:gd name="T11" fmla="*/ 117 h 180"/>
                <a:gd name="T12" fmla="*/ 67 w 248"/>
                <a:gd name="T13" fmla="*/ 117 h 180"/>
                <a:gd name="T14" fmla="*/ 34 w 248"/>
                <a:gd name="T15" fmla="*/ 17 h 180"/>
                <a:gd name="T16" fmla="*/ 17 w 248"/>
                <a:gd name="T17" fmla="*/ 17 h 180"/>
                <a:gd name="T18" fmla="*/ 17 w 248"/>
                <a:gd name="T19" fmla="*/ 33 h 180"/>
                <a:gd name="T20" fmla="*/ 231 w 248"/>
                <a:gd name="T21" fmla="*/ 33 h 180"/>
                <a:gd name="T22" fmla="*/ 231 w 248"/>
                <a:gd name="T23" fmla="*/ 17 h 180"/>
                <a:gd name="T24" fmla="*/ 215 w 248"/>
                <a:gd name="T25" fmla="*/ 17 h 180"/>
                <a:gd name="T26" fmla="*/ 231 w 248"/>
                <a:gd name="T27" fmla="*/ 17 h 180"/>
                <a:gd name="T28" fmla="*/ 231 w 248"/>
                <a:gd name="T29" fmla="*/ 0 h 180"/>
                <a:gd name="T30" fmla="*/ 0 w 248"/>
                <a:gd name="T31" fmla="*/ 0 h 180"/>
                <a:gd name="T32" fmla="*/ 0 w 248"/>
                <a:gd name="T33" fmla="*/ 17 h 180"/>
                <a:gd name="T34" fmla="*/ 42 w 248"/>
                <a:gd name="T35" fmla="*/ 139 h 180"/>
                <a:gd name="T36" fmla="*/ 42 w 248"/>
                <a:gd name="T37" fmla="*/ 139 h 180"/>
                <a:gd name="T38" fmla="*/ 124 w 248"/>
                <a:gd name="T39" fmla="*/ 180 h 180"/>
                <a:gd name="T40" fmla="*/ 207 w 248"/>
                <a:gd name="T41" fmla="*/ 139 h 180"/>
                <a:gd name="T42" fmla="*/ 207 w 248"/>
                <a:gd name="T43" fmla="*/ 139 h 180"/>
                <a:gd name="T44" fmla="*/ 248 w 248"/>
                <a:gd name="T45" fmla="*/ 17 h 180"/>
                <a:gd name="T46" fmla="*/ 248 w 248"/>
                <a:gd name="T47" fmla="*/ 0 h 180"/>
                <a:gd name="T48" fmla="*/ 231 w 248"/>
                <a:gd name="T49" fmla="*/ 0 h 180"/>
                <a:gd name="T50" fmla="*/ 231 w 248"/>
                <a:gd name="T51"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180">
                  <a:moveTo>
                    <a:pt x="231" y="17"/>
                  </a:moveTo>
                  <a:lnTo>
                    <a:pt x="215" y="17"/>
                  </a:lnTo>
                  <a:cubicBezTo>
                    <a:pt x="215" y="58"/>
                    <a:pt x="201" y="94"/>
                    <a:pt x="181" y="117"/>
                  </a:cubicBezTo>
                  <a:lnTo>
                    <a:pt x="181" y="117"/>
                  </a:lnTo>
                  <a:cubicBezTo>
                    <a:pt x="165" y="136"/>
                    <a:pt x="145" y="146"/>
                    <a:pt x="124" y="146"/>
                  </a:cubicBezTo>
                  <a:cubicBezTo>
                    <a:pt x="103" y="146"/>
                    <a:pt x="84" y="136"/>
                    <a:pt x="67" y="117"/>
                  </a:cubicBezTo>
                  <a:lnTo>
                    <a:pt x="67" y="117"/>
                  </a:lnTo>
                  <a:cubicBezTo>
                    <a:pt x="47" y="94"/>
                    <a:pt x="34" y="58"/>
                    <a:pt x="34" y="17"/>
                  </a:cubicBezTo>
                  <a:lnTo>
                    <a:pt x="17" y="17"/>
                  </a:lnTo>
                  <a:lnTo>
                    <a:pt x="17" y="33"/>
                  </a:lnTo>
                  <a:lnTo>
                    <a:pt x="231" y="33"/>
                  </a:lnTo>
                  <a:lnTo>
                    <a:pt x="231" y="17"/>
                  </a:lnTo>
                  <a:lnTo>
                    <a:pt x="215" y="17"/>
                  </a:lnTo>
                  <a:lnTo>
                    <a:pt x="231" y="17"/>
                  </a:lnTo>
                  <a:lnTo>
                    <a:pt x="231" y="0"/>
                  </a:lnTo>
                  <a:lnTo>
                    <a:pt x="0" y="0"/>
                  </a:lnTo>
                  <a:lnTo>
                    <a:pt x="0" y="17"/>
                  </a:lnTo>
                  <a:cubicBezTo>
                    <a:pt x="0" y="65"/>
                    <a:pt x="16" y="109"/>
                    <a:pt x="42" y="139"/>
                  </a:cubicBezTo>
                  <a:lnTo>
                    <a:pt x="42" y="139"/>
                  </a:lnTo>
                  <a:cubicBezTo>
                    <a:pt x="63" y="164"/>
                    <a:pt x="92" y="180"/>
                    <a:pt x="124" y="180"/>
                  </a:cubicBezTo>
                  <a:cubicBezTo>
                    <a:pt x="157" y="180"/>
                    <a:pt x="186" y="164"/>
                    <a:pt x="207" y="139"/>
                  </a:cubicBezTo>
                  <a:lnTo>
                    <a:pt x="207" y="139"/>
                  </a:lnTo>
                  <a:cubicBezTo>
                    <a:pt x="233" y="108"/>
                    <a:pt x="248" y="65"/>
                    <a:pt x="248" y="17"/>
                  </a:cubicBezTo>
                  <a:lnTo>
                    <a:pt x="248" y="0"/>
                  </a:lnTo>
                  <a:lnTo>
                    <a:pt x="231" y="0"/>
                  </a:lnTo>
                  <a:lnTo>
                    <a:pt x="231"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197">
              <a:extLst>
                <a:ext uri="{FF2B5EF4-FFF2-40B4-BE49-F238E27FC236}">
                  <a16:creationId xmlns:a16="http://schemas.microsoft.com/office/drawing/2014/main" id="{A47D0C3B-8C15-4340-BBA8-D5F3B0CCE1D4}"/>
                </a:ext>
              </a:extLst>
            </p:cNvPr>
            <p:cNvSpPr>
              <a:spLocks/>
            </p:cNvSpPr>
            <p:nvPr/>
          </p:nvSpPr>
          <p:spPr bwMode="auto">
            <a:xfrm>
              <a:off x="4284663" y="6440488"/>
              <a:ext cx="69850" cy="44450"/>
            </a:xfrm>
            <a:custGeom>
              <a:avLst/>
              <a:gdLst>
                <a:gd name="T0" fmla="*/ 326 w 342"/>
                <a:gd name="T1" fmla="*/ 196 h 213"/>
                <a:gd name="T2" fmla="*/ 326 w 342"/>
                <a:gd name="T3" fmla="*/ 179 h 213"/>
                <a:gd name="T4" fmla="*/ 16 w 342"/>
                <a:gd name="T5" fmla="*/ 179 h 213"/>
                <a:gd name="T6" fmla="*/ 16 w 342"/>
                <a:gd name="T7" fmla="*/ 196 h 213"/>
                <a:gd name="T8" fmla="*/ 33 w 342"/>
                <a:gd name="T9" fmla="*/ 196 h 213"/>
                <a:gd name="T10" fmla="*/ 74 w 342"/>
                <a:gd name="T11" fmla="*/ 80 h 213"/>
                <a:gd name="T12" fmla="*/ 171 w 342"/>
                <a:gd name="T13" fmla="*/ 34 h 213"/>
                <a:gd name="T14" fmla="*/ 268 w 342"/>
                <a:gd name="T15" fmla="*/ 80 h 213"/>
                <a:gd name="T16" fmla="*/ 309 w 342"/>
                <a:gd name="T17" fmla="*/ 196 h 213"/>
                <a:gd name="T18" fmla="*/ 326 w 342"/>
                <a:gd name="T19" fmla="*/ 196 h 213"/>
                <a:gd name="T20" fmla="*/ 326 w 342"/>
                <a:gd name="T21" fmla="*/ 179 h 213"/>
                <a:gd name="T22" fmla="*/ 326 w 342"/>
                <a:gd name="T23" fmla="*/ 196 h 213"/>
                <a:gd name="T24" fmla="*/ 342 w 342"/>
                <a:gd name="T25" fmla="*/ 196 h 213"/>
                <a:gd name="T26" fmla="*/ 293 w 342"/>
                <a:gd name="T27" fmla="*/ 58 h 213"/>
                <a:gd name="T28" fmla="*/ 171 w 342"/>
                <a:gd name="T29" fmla="*/ 0 h 213"/>
                <a:gd name="T30" fmla="*/ 49 w 342"/>
                <a:gd name="T31" fmla="*/ 58 h 213"/>
                <a:gd name="T32" fmla="*/ 0 w 342"/>
                <a:gd name="T33" fmla="*/ 196 h 213"/>
                <a:gd name="T34" fmla="*/ 0 w 342"/>
                <a:gd name="T35" fmla="*/ 213 h 213"/>
                <a:gd name="T36" fmla="*/ 342 w 342"/>
                <a:gd name="T37" fmla="*/ 212 h 213"/>
                <a:gd name="T38" fmla="*/ 342 w 342"/>
                <a:gd name="T39" fmla="*/ 196 h 213"/>
                <a:gd name="T40" fmla="*/ 326 w 342"/>
                <a:gd name="T41"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2" h="213">
                  <a:moveTo>
                    <a:pt x="326" y="196"/>
                  </a:moveTo>
                  <a:lnTo>
                    <a:pt x="326" y="179"/>
                  </a:lnTo>
                  <a:lnTo>
                    <a:pt x="16" y="179"/>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326" y="196"/>
                  </a:lnTo>
                  <a:lnTo>
                    <a:pt x="342" y="196"/>
                  </a:lnTo>
                  <a:cubicBezTo>
                    <a:pt x="342" y="142"/>
                    <a:pt x="324" y="94"/>
                    <a:pt x="293" y="58"/>
                  </a:cubicBezTo>
                  <a:cubicBezTo>
                    <a:pt x="262" y="23"/>
                    <a:pt x="219" y="0"/>
                    <a:pt x="171" y="0"/>
                  </a:cubicBezTo>
                  <a:cubicBezTo>
                    <a:pt x="123" y="0"/>
                    <a:pt x="80" y="23"/>
                    <a:pt x="49" y="58"/>
                  </a:cubicBezTo>
                  <a:cubicBezTo>
                    <a:pt x="18" y="94"/>
                    <a:pt x="0" y="143"/>
                    <a:pt x="0" y="196"/>
                  </a:cubicBezTo>
                  <a:lnTo>
                    <a:pt x="0" y="213"/>
                  </a:lnTo>
                  <a:lnTo>
                    <a:pt x="342" y="212"/>
                  </a:lnTo>
                  <a:lnTo>
                    <a:pt x="342" y="196"/>
                  </a:lnTo>
                  <a:lnTo>
                    <a:pt x="32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198">
              <a:extLst>
                <a:ext uri="{FF2B5EF4-FFF2-40B4-BE49-F238E27FC236}">
                  <a16:creationId xmlns:a16="http://schemas.microsoft.com/office/drawing/2014/main" id="{525D0366-935C-47D2-AD36-9EF34BC6BC84}"/>
                </a:ext>
              </a:extLst>
            </p:cNvPr>
            <p:cNvSpPr>
              <a:spLocks/>
            </p:cNvSpPr>
            <p:nvPr/>
          </p:nvSpPr>
          <p:spPr bwMode="auto">
            <a:xfrm>
              <a:off x="43164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99">
              <a:extLst>
                <a:ext uri="{FF2B5EF4-FFF2-40B4-BE49-F238E27FC236}">
                  <a16:creationId xmlns:a16="http://schemas.microsoft.com/office/drawing/2014/main" id="{D8E922D3-4B05-482A-8A78-BA6E1C1EAD77}"/>
                </a:ext>
              </a:extLst>
            </p:cNvPr>
            <p:cNvSpPr>
              <a:spLocks/>
            </p:cNvSpPr>
            <p:nvPr/>
          </p:nvSpPr>
          <p:spPr bwMode="auto">
            <a:xfrm>
              <a:off x="4292601" y="6535738"/>
              <a:ext cx="53975" cy="60325"/>
            </a:xfrm>
            <a:custGeom>
              <a:avLst/>
              <a:gdLst>
                <a:gd name="T0" fmla="*/ 187 w 264"/>
                <a:gd name="T1" fmla="*/ 260 h 293"/>
                <a:gd name="T2" fmla="*/ 35 w 264"/>
                <a:gd name="T3" fmla="*/ 260 h 293"/>
                <a:gd name="T4" fmla="*/ 45 w 264"/>
                <a:gd name="T5" fmla="*/ 57 h 293"/>
                <a:gd name="T6" fmla="*/ 45 w 264"/>
                <a:gd name="T7" fmla="*/ 56 h 293"/>
                <a:gd name="T8" fmla="*/ 68 w 264"/>
                <a:gd name="T9" fmla="*/ 33 h 293"/>
                <a:gd name="T10" fmla="*/ 203 w 264"/>
                <a:gd name="T11" fmla="*/ 33 h 293"/>
                <a:gd name="T12" fmla="*/ 226 w 264"/>
                <a:gd name="T13" fmla="*/ 56 h 293"/>
                <a:gd name="T14" fmla="*/ 226 w 264"/>
                <a:gd name="T15" fmla="*/ 57 h 293"/>
                <a:gd name="T16" fmla="*/ 230 w 264"/>
                <a:gd name="T17" fmla="*/ 147 h 293"/>
                <a:gd name="T18" fmla="*/ 264 w 264"/>
                <a:gd name="T19" fmla="*/ 146 h 293"/>
                <a:gd name="T20" fmla="*/ 259 w 264"/>
                <a:gd name="T21" fmla="*/ 55 h 293"/>
                <a:gd name="T22" fmla="*/ 243 w 264"/>
                <a:gd name="T23" fmla="*/ 56 h 293"/>
                <a:gd name="T24" fmla="*/ 259 w 264"/>
                <a:gd name="T25" fmla="*/ 56 h 293"/>
                <a:gd name="T26" fmla="*/ 203 w 264"/>
                <a:gd name="T27" fmla="*/ 0 h 293"/>
                <a:gd name="T28" fmla="*/ 68 w 264"/>
                <a:gd name="T29" fmla="*/ 0 h 293"/>
                <a:gd name="T30" fmla="*/ 11 w 264"/>
                <a:gd name="T31" fmla="*/ 56 h 293"/>
                <a:gd name="T32" fmla="*/ 28 w 264"/>
                <a:gd name="T33" fmla="*/ 56 h 293"/>
                <a:gd name="T34" fmla="*/ 12 w 264"/>
                <a:gd name="T35" fmla="*/ 55 h 293"/>
                <a:gd name="T36" fmla="*/ 0 w 264"/>
                <a:gd name="T37" fmla="*/ 293 h 293"/>
                <a:gd name="T38" fmla="*/ 187 w 264"/>
                <a:gd name="T39" fmla="*/ 293 h 293"/>
                <a:gd name="T40" fmla="*/ 187 w 264"/>
                <a:gd name="T41" fmla="*/ 26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293">
                  <a:moveTo>
                    <a:pt x="187" y="260"/>
                  </a:moveTo>
                  <a:lnTo>
                    <a:pt x="35" y="260"/>
                  </a:lnTo>
                  <a:lnTo>
                    <a:pt x="45" y="57"/>
                  </a:lnTo>
                  <a:lnTo>
                    <a:pt x="45" y="56"/>
                  </a:lnTo>
                  <a:cubicBezTo>
                    <a:pt x="45" y="43"/>
                    <a:pt x="55" y="33"/>
                    <a:pt x="68" y="33"/>
                  </a:cubicBezTo>
                  <a:lnTo>
                    <a:pt x="203" y="33"/>
                  </a:lnTo>
                  <a:cubicBezTo>
                    <a:pt x="216" y="33"/>
                    <a:pt x="226" y="43"/>
                    <a:pt x="226" y="56"/>
                  </a:cubicBezTo>
                  <a:lnTo>
                    <a:pt x="226" y="57"/>
                  </a:lnTo>
                  <a:lnTo>
                    <a:pt x="230" y="147"/>
                  </a:lnTo>
                  <a:lnTo>
                    <a:pt x="264" y="146"/>
                  </a:lnTo>
                  <a:lnTo>
                    <a:pt x="259" y="55"/>
                  </a:lnTo>
                  <a:lnTo>
                    <a:pt x="243" y="56"/>
                  </a:lnTo>
                  <a:lnTo>
                    <a:pt x="259" y="56"/>
                  </a:lnTo>
                  <a:cubicBezTo>
                    <a:pt x="259" y="25"/>
                    <a:pt x="234" y="0"/>
                    <a:pt x="203" y="0"/>
                  </a:cubicBezTo>
                  <a:lnTo>
                    <a:pt x="68" y="0"/>
                  </a:lnTo>
                  <a:cubicBezTo>
                    <a:pt x="37" y="0"/>
                    <a:pt x="11" y="25"/>
                    <a:pt x="11" y="56"/>
                  </a:cubicBezTo>
                  <a:lnTo>
                    <a:pt x="28" y="56"/>
                  </a:lnTo>
                  <a:lnTo>
                    <a:pt x="12" y="55"/>
                  </a:lnTo>
                  <a:lnTo>
                    <a:pt x="0" y="293"/>
                  </a:lnTo>
                  <a:lnTo>
                    <a:pt x="187" y="293"/>
                  </a:lnTo>
                  <a:lnTo>
                    <a:pt x="187" y="26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200">
              <a:extLst>
                <a:ext uri="{FF2B5EF4-FFF2-40B4-BE49-F238E27FC236}">
                  <a16:creationId xmlns:a16="http://schemas.microsoft.com/office/drawing/2014/main" id="{7E873575-688C-4C27-ABCC-DB8131901EE2}"/>
                </a:ext>
              </a:extLst>
            </p:cNvPr>
            <p:cNvSpPr>
              <a:spLocks/>
            </p:cNvSpPr>
            <p:nvPr/>
          </p:nvSpPr>
          <p:spPr bwMode="auto">
            <a:xfrm>
              <a:off x="4292601" y="6521450"/>
              <a:ext cx="14288" cy="19050"/>
            </a:xfrm>
            <a:custGeom>
              <a:avLst/>
              <a:gdLst>
                <a:gd name="T0" fmla="*/ 0 w 71"/>
                <a:gd name="T1" fmla="*/ 15 h 99"/>
                <a:gd name="T2" fmla="*/ 41 w 71"/>
                <a:gd name="T3" fmla="*/ 99 h 99"/>
                <a:gd name="T4" fmla="*/ 71 w 71"/>
                <a:gd name="T5" fmla="*/ 84 h 99"/>
                <a:gd name="T6" fmla="*/ 30 w 71"/>
                <a:gd name="T7" fmla="*/ 0 h 99"/>
              </a:gdLst>
              <a:ahLst/>
              <a:cxnLst>
                <a:cxn ang="0">
                  <a:pos x="T0" y="T1"/>
                </a:cxn>
                <a:cxn ang="0">
                  <a:pos x="T2" y="T3"/>
                </a:cxn>
                <a:cxn ang="0">
                  <a:pos x="T4" y="T5"/>
                </a:cxn>
                <a:cxn ang="0">
                  <a:pos x="T6" y="T7"/>
                </a:cxn>
              </a:cxnLst>
              <a:rect l="0" t="0" r="r" b="b"/>
              <a:pathLst>
                <a:path w="71" h="99">
                  <a:moveTo>
                    <a:pt x="0" y="15"/>
                  </a:moveTo>
                  <a:lnTo>
                    <a:pt x="41" y="99"/>
                  </a:lnTo>
                  <a:lnTo>
                    <a:pt x="71"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201">
              <a:extLst>
                <a:ext uri="{FF2B5EF4-FFF2-40B4-BE49-F238E27FC236}">
                  <a16:creationId xmlns:a16="http://schemas.microsoft.com/office/drawing/2014/main" id="{AFEA1EB4-9C8F-48E1-9F5C-33D6F43EA9B0}"/>
                </a:ext>
              </a:extLst>
            </p:cNvPr>
            <p:cNvSpPr>
              <a:spLocks/>
            </p:cNvSpPr>
            <p:nvPr/>
          </p:nvSpPr>
          <p:spPr bwMode="auto">
            <a:xfrm>
              <a:off x="4332288" y="6521450"/>
              <a:ext cx="14288" cy="19050"/>
            </a:xfrm>
            <a:custGeom>
              <a:avLst/>
              <a:gdLst>
                <a:gd name="T0" fmla="*/ 42 w 72"/>
                <a:gd name="T1" fmla="*/ 0 h 99"/>
                <a:gd name="T2" fmla="*/ 0 w 72"/>
                <a:gd name="T3" fmla="*/ 84 h 99"/>
                <a:gd name="T4" fmla="*/ 30 w 72"/>
                <a:gd name="T5" fmla="*/ 99 h 99"/>
                <a:gd name="T6" fmla="*/ 72 w 72"/>
                <a:gd name="T7" fmla="*/ 14 h 99"/>
              </a:gdLst>
              <a:ahLst/>
              <a:cxnLst>
                <a:cxn ang="0">
                  <a:pos x="T0" y="T1"/>
                </a:cxn>
                <a:cxn ang="0">
                  <a:pos x="T2" y="T3"/>
                </a:cxn>
                <a:cxn ang="0">
                  <a:pos x="T4" y="T5"/>
                </a:cxn>
                <a:cxn ang="0">
                  <a:pos x="T6" y="T7"/>
                </a:cxn>
              </a:cxnLst>
              <a:rect l="0" t="0" r="r" b="b"/>
              <a:pathLst>
                <a:path w="72" h="99">
                  <a:moveTo>
                    <a:pt x="42" y="0"/>
                  </a:moveTo>
                  <a:lnTo>
                    <a:pt x="0" y="84"/>
                  </a:lnTo>
                  <a:lnTo>
                    <a:pt x="30" y="99"/>
                  </a:lnTo>
                  <a:lnTo>
                    <a:pt x="72" y="1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202">
              <a:extLst>
                <a:ext uri="{FF2B5EF4-FFF2-40B4-BE49-F238E27FC236}">
                  <a16:creationId xmlns:a16="http://schemas.microsoft.com/office/drawing/2014/main" id="{BF7DDA51-ACCA-4CB9-B87B-72CFACB71F64}"/>
                </a:ext>
              </a:extLst>
            </p:cNvPr>
            <p:cNvSpPr>
              <a:spLocks/>
            </p:cNvSpPr>
            <p:nvPr/>
          </p:nvSpPr>
          <p:spPr bwMode="auto">
            <a:xfrm>
              <a:off x="4316413" y="6562725"/>
              <a:ext cx="79375" cy="33338"/>
            </a:xfrm>
            <a:custGeom>
              <a:avLst/>
              <a:gdLst>
                <a:gd name="T0" fmla="*/ 48 w 50"/>
                <a:gd name="T1" fmla="*/ 19 h 21"/>
                <a:gd name="T2" fmla="*/ 48 w 50"/>
                <a:gd name="T3" fmla="*/ 17 h 21"/>
                <a:gd name="T4" fmla="*/ 4 w 50"/>
                <a:gd name="T5" fmla="*/ 17 h 21"/>
                <a:gd name="T6" fmla="*/ 4 w 50"/>
                <a:gd name="T7" fmla="*/ 4 h 21"/>
                <a:gd name="T8" fmla="*/ 46 w 50"/>
                <a:gd name="T9" fmla="*/ 4 h 21"/>
                <a:gd name="T10" fmla="*/ 46 w 50"/>
                <a:gd name="T11" fmla="*/ 19 h 21"/>
                <a:gd name="T12" fmla="*/ 48 w 50"/>
                <a:gd name="T13" fmla="*/ 19 h 21"/>
                <a:gd name="T14" fmla="*/ 48 w 50"/>
                <a:gd name="T15" fmla="*/ 17 h 21"/>
                <a:gd name="T16" fmla="*/ 48 w 50"/>
                <a:gd name="T17" fmla="*/ 19 h 21"/>
                <a:gd name="T18" fmla="*/ 50 w 50"/>
                <a:gd name="T19" fmla="*/ 19 h 21"/>
                <a:gd name="T20" fmla="*/ 50 w 50"/>
                <a:gd name="T21" fmla="*/ 0 h 21"/>
                <a:gd name="T22" fmla="*/ 0 w 50"/>
                <a:gd name="T23" fmla="*/ 0 h 21"/>
                <a:gd name="T24" fmla="*/ 0 w 50"/>
                <a:gd name="T25" fmla="*/ 21 h 21"/>
                <a:gd name="T26" fmla="*/ 50 w 50"/>
                <a:gd name="T27" fmla="*/ 21 h 21"/>
                <a:gd name="T28" fmla="*/ 50 w 50"/>
                <a:gd name="T29" fmla="*/ 19 h 21"/>
                <a:gd name="T30" fmla="*/ 48 w 50"/>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21">
                  <a:moveTo>
                    <a:pt x="48" y="19"/>
                  </a:moveTo>
                  <a:lnTo>
                    <a:pt x="48" y="17"/>
                  </a:lnTo>
                  <a:lnTo>
                    <a:pt x="4" y="17"/>
                  </a:lnTo>
                  <a:lnTo>
                    <a:pt x="4" y="4"/>
                  </a:lnTo>
                  <a:lnTo>
                    <a:pt x="46" y="4"/>
                  </a:lnTo>
                  <a:lnTo>
                    <a:pt x="46" y="19"/>
                  </a:lnTo>
                  <a:lnTo>
                    <a:pt x="48" y="19"/>
                  </a:lnTo>
                  <a:lnTo>
                    <a:pt x="48" y="17"/>
                  </a:lnTo>
                  <a:lnTo>
                    <a:pt x="48" y="19"/>
                  </a:lnTo>
                  <a:lnTo>
                    <a:pt x="50" y="19"/>
                  </a:lnTo>
                  <a:lnTo>
                    <a:pt x="50" y="0"/>
                  </a:lnTo>
                  <a:lnTo>
                    <a:pt x="0" y="0"/>
                  </a:lnTo>
                  <a:lnTo>
                    <a:pt x="0" y="21"/>
                  </a:lnTo>
                  <a:lnTo>
                    <a:pt x="50" y="21"/>
                  </a:lnTo>
                  <a:lnTo>
                    <a:pt x="50" y="19"/>
                  </a:lnTo>
                  <a:lnTo>
                    <a:pt x="48" y="19"/>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203">
              <a:extLst>
                <a:ext uri="{FF2B5EF4-FFF2-40B4-BE49-F238E27FC236}">
                  <a16:creationId xmlns:a16="http://schemas.microsoft.com/office/drawing/2014/main" id="{A84759BD-8D23-4310-AB31-5374D1C3489C}"/>
                </a:ext>
              </a:extLst>
            </p:cNvPr>
            <p:cNvSpPr>
              <a:spLocks/>
            </p:cNvSpPr>
            <p:nvPr/>
          </p:nvSpPr>
          <p:spPr bwMode="auto">
            <a:xfrm>
              <a:off x="4422776" y="6551613"/>
              <a:ext cx="50800" cy="44450"/>
            </a:xfrm>
            <a:custGeom>
              <a:avLst/>
              <a:gdLst>
                <a:gd name="T0" fmla="*/ 30 w 32"/>
                <a:gd name="T1" fmla="*/ 26 h 28"/>
                <a:gd name="T2" fmla="*/ 30 w 32"/>
                <a:gd name="T3" fmla="*/ 24 h 28"/>
                <a:gd name="T4" fmla="*/ 4 w 32"/>
                <a:gd name="T5" fmla="*/ 24 h 28"/>
                <a:gd name="T6" fmla="*/ 4 w 32"/>
                <a:gd name="T7" fmla="*/ 5 h 28"/>
                <a:gd name="T8" fmla="*/ 28 w 32"/>
                <a:gd name="T9" fmla="*/ 5 h 28"/>
                <a:gd name="T10" fmla="*/ 28 w 32"/>
                <a:gd name="T11" fmla="*/ 26 h 28"/>
                <a:gd name="T12" fmla="*/ 30 w 32"/>
                <a:gd name="T13" fmla="*/ 26 h 28"/>
                <a:gd name="T14" fmla="*/ 30 w 32"/>
                <a:gd name="T15" fmla="*/ 24 h 28"/>
                <a:gd name="T16" fmla="*/ 30 w 32"/>
                <a:gd name="T17" fmla="*/ 26 h 28"/>
                <a:gd name="T18" fmla="*/ 32 w 32"/>
                <a:gd name="T19" fmla="*/ 26 h 28"/>
                <a:gd name="T20" fmla="*/ 32 w 32"/>
                <a:gd name="T21" fmla="*/ 0 h 28"/>
                <a:gd name="T22" fmla="*/ 0 w 32"/>
                <a:gd name="T23" fmla="*/ 0 h 28"/>
                <a:gd name="T24" fmla="*/ 0 w 32"/>
                <a:gd name="T25" fmla="*/ 28 h 28"/>
                <a:gd name="T26" fmla="*/ 32 w 32"/>
                <a:gd name="T27" fmla="*/ 28 h 28"/>
                <a:gd name="T28" fmla="*/ 32 w 32"/>
                <a:gd name="T29" fmla="*/ 26 h 28"/>
                <a:gd name="T30" fmla="*/ 30 w 32"/>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8">
                  <a:moveTo>
                    <a:pt x="30" y="26"/>
                  </a:moveTo>
                  <a:lnTo>
                    <a:pt x="30" y="24"/>
                  </a:lnTo>
                  <a:lnTo>
                    <a:pt x="4" y="24"/>
                  </a:lnTo>
                  <a:lnTo>
                    <a:pt x="4" y="5"/>
                  </a:lnTo>
                  <a:lnTo>
                    <a:pt x="28" y="5"/>
                  </a:lnTo>
                  <a:lnTo>
                    <a:pt x="28" y="26"/>
                  </a:lnTo>
                  <a:lnTo>
                    <a:pt x="30" y="26"/>
                  </a:lnTo>
                  <a:lnTo>
                    <a:pt x="30" y="24"/>
                  </a:lnTo>
                  <a:lnTo>
                    <a:pt x="30" y="26"/>
                  </a:lnTo>
                  <a:lnTo>
                    <a:pt x="32" y="26"/>
                  </a:lnTo>
                  <a:lnTo>
                    <a:pt x="32" y="0"/>
                  </a:lnTo>
                  <a:lnTo>
                    <a:pt x="0" y="0"/>
                  </a:lnTo>
                  <a:lnTo>
                    <a:pt x="0" y="28"/>
                  </a:lnTo>
                  <a:lnTo>
                    <a:pt x="32" y="28"/>
                  </a:lnTo>
                  <a:lnTo>
                    <a:pt x="32" y="26"/>
                  </a:lnTo>
                  <a:lnTo>
                    <a:pt x="30" y="2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204">
              <a:extLst>
                <a:ext uri="{FF2B5EF4-FFF2-40B4-BE49-F238E27FC236}">
                  <a16:creationId xmlns:a16="http://schemas.microsoft.com/office/drawing/2014/main" id="{8C179E37-A96A-4A84-B6E5-91C4D32315AB}"/>
                </a:ext>
              </a:extLst>
            </p:cNvPr>
            <p:cNvSpPr>
              <a:spLocks/>
            </p:cNvSpPr>
            <p:nvPr/>
          </p:nvSpPr>
          <p:spPr bwMode="auto">
            <a:xfrm>
              <a:off x="4292601" y="6627813"/>
              <a:ext cx="55563" cy="74613"/>
            </a:xfrm>
            <a:custGeom>
              <a:avLst/>
              <a:gdLst>
                <a:gd name="T0" fmla="*/ 0 w 35"/>
                <a:gd name="T1" fmla="*/ 0 h 47"/>
                <a:gd name="T2" fmla="*/ 0 w 35"/>
                <a:gd name="T3" fmla="*/ 47 h 47"/>
                <a:gd name="T4" fmla="*/ 35 w 35"/>
                <a:gd name="T5" fmla="*/ 47 h 47"/>
                <a:gd name="T6" fmla="*/ 35 w 35"/>
                <a:gd name="T7" fmla="*/ 0 h 47"/>
                <a:gd name="T8" fmla="*/ 30 w 35"/>
                <a:gd name="T9" fmla="*/ 0 h 47"/>
                <a:gd name="T10" fmla="*/ 30 w 35"/>
                <a:gd name="T11" fmla="*/ 43 h 47"/>
                <a:gd name="T12" fmla="*/ 4 w 35"/>
                <a:gd name="T13" fmla="*/ 43 h 47"/>
                <a:gd name="T14" fmla="*/ 4 w 35"/>
                <a:gd name="T15" fmla="*/ 0 h 47"/>
                <a:gd name="T16" fmla="*/ 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0" y="0"/>
                  </a:moveTo>
                  <a:lnTo>
                    <a:pt x="0" y="47"/>
                  </a:lnTo>
                  <a:lnTo>
                    <a:pt x="35" y="47"/>
                  </a:lnTo>
                  <a:lnTo>
                    <a:pt x="35" y="0"/>
                  </a:lnTo>
                  <a:lnTo>
                    <a:pt x="30" y="0"/>
                  </a:lnTo>
                  <a:lnTo>
                    <a:pt x="30" y="43"/>
                  </a:lnTo>
                  <a:lnTo>
                    <a:pt x="4" y="43"/>
                  </a:lnTo>
                  <a:lnTo>
                    <a:pt x="4" y="0"/>
                  </a:lnTo>
                  <a:lnTo>
                    <a:pt x="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206">
              <a:extLst>
                <a:ext uri="{FF2B5EF4-FFF2-40B4-BE49-F238E27FC236}">
                  <a16:creationId xmlns:a16="http://schemas.microsoft.com/office/drawing/2014/main" id="{3A1FD271-B0F8-4019-9557-D7C5562D1682}"/>
                </a:ext>
              </a:extLst>
            </p:cNvPr>
            <p:cNvSpPr>
              <a:spLocks/>
            </p:cNvSpPr>
            <p:nvPr/>
          </p:nvSpPr>
          <p:spPr bwMode="auto">
            <a:xfrm>
              <a:off x="4281488" y="6640513"/>
              <a:ext cx="41275" cy="84138"/>
            </a:xfrm>
            <a:custGeom>
              <a:avLst/>
              <a:gdLst>
                <a:gd name="T0" fmla="*/ 61 w 204"/>
                <a:gd name="T1" fmla="*/ 268 h 406"/>
                <a:gd name="T2" fmla="*/ 30 w 204"/>
                <a:gd name="T3" fmla="*/ 297 h 406"/>
                <a:gd name="T4" fmla="*/ 1 w 204"/>
                <a:gd name="T5" fmla="*/ 389 h 406"/>
                <a:gd name="T6" fmla="*/ 1 w 204"/>
                <a:gd name="T7" fmla="*/ 406 h 406"/>
                <a:gd name="T8" fmla="*/ 204 w 204"/>
                <a:gd name="T9" fmla="*/ 406 h 406"/>
                <a:gd name="T10" fmla="*/ 204 w 204"/>
                <a:gd name="T11" fmla="*/ 282 h 406"/>
                <a:gd name="T12" fmla="*/ 204 w 204"/>
                <a:gd name="T13" fmla="*/ 0 h 406"/>
                <a:gd name="T14" fmla="*/ 171 w 204"/>
                <a:gd name="T15" fmla="*/ 0 h 406"/>
                <a:gd name="T16" fmla="*/ 171 w 204"/>
                <a:gd name="T17" fmla="*/ 282 h 406"/>
                <a:gd name="T18" fmla="*/ 171 w 204"/>
                <a:gd name="T19" fmla="*/ 373 h 406"/>
                <a:gd name="T20" fmla="*/ 17 w 204"/>
                <a:gd name="T21" fmla="*/ 373 h 406"/>
                <a:gd name="T22" fmla="*/ 17 w 204"/>
                <a:gd name="T23" fmla="*/ 389 h 406"/>
                <a:gd name="T24" fmla="*/ 34 w 204"/>
                <a:gd name="T25" fmla="*/ 389 h 406"/>
                <a:gd name="T26" fmla="*/ 57 w 204"/>
                <a:gd name="T27" fmla="*/ 317 h 406"/>
                <a:gd name="T28" fmla="*/ 72 w 204"/>
                <a:gd name="T29" fmla="*/ 301 h 406"/>
                <a:gd name="T30" fmla="*/ 77 w 204"/>
                <a:gd name="T31" fmla="*/ 297 h 406"/>
                <a:gd name="T32" fmla="*/ 78 w 204"/>
                <a:gd name="T33" fmla="*/ 296 h 406"/>
                <a:gd name="T34" fmla="*/ 78 w 204"/>
                <a:gd name="T35" fmla="*/ 296 h 406"/>
                <a:gd name="T36" fmla="*/ 75 w 204"/>
                <a:gd name="T37" fmla="*/ 291 h 406"/>
                <a:gd name="T38" fmla="*/ 78 w 204"/>
                <a:gd name="T39" fmla="*/ 296 h 406"/>
                <a:gd name="T40" fmla="*/ 78 w 204"/>
                <a:gd name="T41" fmla="*/ 296 h 406"/>
                <a:gd name="T42" fmla="*/ 75 w 204"/>
                <a:gd name="T43" fmla="*/ 291 h 406"/>
                <a:gd name="T44" fmla="*/ 78 w 204"/>
                <a:gd name="T45" fmla="*/ 296 h 406"/>
                <a:gd name="T46" fmla="*/ 61 w 204"/>
                <a:gd name="T47" fmla="*/ 26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406">
                  <a:moveTo>
                    <a:pt x="61" y="268"/>
                  </a:moveTo>
                  <a:cubicBezTo>
                    <a:pt x="60" y="269"/>
                    <a:pt x="45" y="277"/>
                    <a:pt x="30" y="297"/>
                  </a:cubicBezTo>
                  <a:cubicBezTo>
                    <a:pt x="15" y="317"/>
                    <a:pt x="0" y="347"/>
                    <a:pt x="1" y="389"/>
                  </a:cubicBezTo>
                  <a:lnTo>
                    <a:pt x="1" y="406"/>
                  </a:lnTo>
                  <a:lnTo>
                    <a:pt x="204" y="406"/>
                  </a:lnTo>
                  <a:lnTo>
                    <a:pt x="204" y="282"/>
                  </a:lnTo>
                  <a:lnTo>
                    <a:pt x="204" y="0"/>
                  </a:lnTo>
                  <a:lnTo>
                    <a:pt x="171" y="0"/>
                  </a:lnTo>
                  <a:lnTo>
                    <a:pt x="171" y="282"/>
                  </a:lnTo>
                  <a:lnTo>
                    <a:pt x="171" y="373"/>
                  </a:lnTo>
                  <a:lnTo>
                    <a:pt x="17" y="373"/>
                  </a:lnTo>
                  <a:lnTo>
                    <a:pt x="17" y="389"/>
                  </a:lnTo>
                  <a:lnTo>
                    <a:pt x="34" y="389"/>
                  </a:lnTo>
                  <a:cubicBezTo>
                    <a:pt x="34" y="355"/>
                    <a:pt x="45" y="332"/>
                    <a:pt x="57" y="317"/>
                  </a:cubicBezTo>
                  <a:cubicBezTo>
                    <a:pt x="62" y="310"/>
                    <a:pt x="68" y="304"/>
                    <a:pt x="72" y="301"/>
                  </a:cubicBezTo>
                  <a:cubicBezTo>
                    <a:pt x="74" y="299"/>
                    <a:pt x="76" y="298"/>
                    <a:pt x="77" y="297"/>
                  </a:cubicBezTo>
                  <a:lnTo>
                    <a:pt x="78" y="296"/>
                  </a:lnTo>
                  <a:lnTo>
                    <a:pt x="78" y="296"/>
                  </a:lnTo>
                  <a:lnTo>
                    <a:pt x="75" y="291"/>
                  </a:lnTo>
                  <a:lnTo>
                    <a:pt x="78" y="296"/>
                  </a:lnTo>
                  <a:lnTo>
                    <a:pt x="78" y="296"/>
                  </a:lnTo>
                  <a:lnTo>
                    <a:pt x="75" y="291"/>
                  </a:lnTo>
                  <a:lnTo>
                    <a:pt x="78" y="296"/>
                  </a:lnTo>
                  <a:lnTo>
                    <a:pt x="61" y="26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207">
              <a:extLst>
                <a:ext uri="{FF2B5EF4-FFF2-40B4-BE49-F238E27FC236}">
                  <a16:creationId xmlns:a16="http://schemas.microsoft.com/office/drawing/2014/main" id="{039B7468-1F2D-4235-90C0-110400FFAD63}"/>
                </a:ext>
              </a:extLst>
            </p:cNvPr>
            <p:cNvSpPr>
              <a:spLocks/>
            </p:cNvSpPr>
            <p:nvPr/>
          </p:nvSpPr>
          <p:spPr bwMode="auto">
            <a:xfrm>
              <a:off x="4316413" y="6696076"/>
              <a:ext cx="41275" cy="28575"/>
            </a:xfrm>
            <a:custGeom>
              <a:avLst/>
              <a:gdLst>
                <a:gd name="T0" fmla="*/ 125 w 203"/>
                <a:gd name="T1" fmla="*/ 28 h 138"/>
                <a:gd name="T2" fmla="*/ 129 w 203"/>
                <a:gd name="T3" fmla="*/ 23 h 138"/>
                <a:gd name="T4" fmla="*/ 125 w 203"/>
                <a:gd name="T5" fmla="*/ 28 h 138"/>
                <a:gd name="T6" fmla="*/ 125 w 203"/>
                <a:gd name="T7" fmla="*/ 28 h 138"/>
                <a:gd name="T8" fmla="*/ 129 w 203"/>
                <a:gd name="T9" fmla="*/ 23 h 138"/>
                <a:gd name="T10" fmla="*/ 125 w 203"/>
                <a:gd name="T11" fmla="*/ 28 h 138"/>
                <a:gd name="T12" fmla="*/ 148 w 203"/>
                <a:gd name="T13" fmla="*/ 51 h 138"/>
                <a:gd name="T14" fmla="*/ 170 w 203"/>
                <a:gd name="T15" fmla="*/ 121 h 138"/>
                <a:gd name="T16" fmla="*/ 186 w 203"/>
                <a:gd name="T17" fmla="*/ 121 h 138"/>
                <a:gd name="T18" fmla="*/ 186 w 203"/>
                <a:gd name="T19" fmla="*/ 105 h 138"/>
                <a:gd name="T20" fmla="*/ 33 w 203"/>
                <a:gd name="T21" fmla="*/ 105 h 138"/>
                <a:gd name="T22" fmla="*/ 33 w 203"/>
                <a:gd name="T23" fmla="*/ 14 h 138"/>
                <a:gd name="T24" fmla="*/ 0 w 203"/>
                <a:gd name="T25" fmla="*/ 14 h 138"/>
                <a:gd name="T26" fmla="*/ 0 w 203"/>
                <a:gd name="T27" fmla="*/ 138 h 138"/>
                <a:gd name="T28" fmla="*/ 203 w 203"/>
                <a:gd name="T29" fmla="*/ 138 h 138"/>
                <a:gd name="T30" fmla="*/ 203 w 203"/>
                <a:gd name="T31" fmla="*/ 121 h 138"/>
                <a:gd name="T32" fmla="*/ 173 w 203"/>
                <a:gd name="T33" fmla="*/ 29 h 138"/>
                <a:gd name="T34" fmla="*/ 142 w 203"/>
                <a:gd name="T35" fmla="*/ 0 h 138"/>
                <a:gd name="T36" fmla="*/ 125 w 203"/>
                <a:gd name="T3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 h="138">
                  <a:moveTo>
                    <a:pt x="125" y="28"/>
                  </a:moveTo>
                  <a:lnTo>
                    <a:pt x="129" y="23"/>
                  </a:lnTo>
                  <a:lnTo>
                    <a:pt x="125" y="28"/>
                  </a:lnTo>
                  <a:lnTo>
                    <a:pt x="125" y="28"/>
                  </a:lnTo>
                  <a:lnTo>
                    <a:pt x="129" y="23"/>
                  </a:lnTo>
                  <a:lnTo>
                    <a:pt x="125" y="28"/>
                  </a:lnTo>
                  <a:cubicBezTo>
                    <a:pt x="126" y="28"/>
                    <a:pt x="137" y="36"/>
                    <a:pt x="148" y="51"/>
                  </a:cubicBezTo>
                  <a:cubicBezTo>
                    <a:pt x="159" y="66"/>
                    <a:pt x="170" y="88"/>
                    <a:pt x="170" y="121"/>
                  </a:cubicBezTo>
                  <a:lnTo>
                    <a:pt x="186" y="121"/>
                  </a:lnTo>
                  <a:lnTo>
                    <a:pt x="186" y="105"/>
                  </a:lnTo>
                  <a:lnTo>
                    <a:pt x="33" y="105"/>
                  </a:lnTo>
                  <a:lnTo>
                    <a:pt x="33" y="14"/>
                  </a:lnTo>
                  <a:lnTo>
                    <a:pt x="0" y="14"/>
                  </a:lnTo>
                  <a:lnTo>
                    <a:pt x="0" y="138"/>
                  </a:lnTo>
                  <a:lnTo>
                    <a:pt x="203" y="138"/>
                  </a:lnTo>
                  <a:lnTo>
                    <a:pt x="203" y="121"/>
                  </a:lnTo>
                  <a:cubicBezTo>
                    <a:pt x="203" y="79"/>
                    <a:pt x="188" y="49"/>
                    <a:pt x="173" y="29"/>
                  </a:cubicBezTo>
                  <a:cubicBezTo>
                    <a:pt x="159" y="9"/>
                    <a:pt x="144" y="1"/>
                    <a:pt x="142" y="0"/>
                  </a:cubicBezTo>
                  <a:lnTo>
                    <a:pt x="125" y="28"/>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208">
              <a:extLst>
                <a:ext uri="{FF2B5EF4-FFF2-40B4-BE49-F238E27FC236}">
                  <a16:creationId xmlns:a16="http://schemas.microsoft.com/office/drawing/2014/main" id="{510A17BA-B2EA-4DB3-A483-4E76999FA6B7}"/>
                </a:ext>
              </a:extLst>
            </p:cNvPr>
            <p:cNvSpPr>
              <a:spLocks/>
            </p:cNvSpPr>
            <p:nvPr/>
          </p:nvSpPr>
          <p:spPr bwMode="auto">
            <a:xfrm>
              <a:off x="4384676" y="6494463"/>
              <a:ext cx="112713" cy="77788"/>
            </a:xfrm>
            <a:custGeom>
              <a:avLst/>
              <a:gdLst>
                <a:gd name="T0" fmla="*/ 33 w 550"/>
                <a:gd name="T1" fmla="*/ 347 h 375"/>
                <a:gd name="T2" fmla="*/ 33 w 550"/>
                <a:gd name="T3" fmla="*/ 263 h 375"/>
                <a:gd name="T4" fmla="*/ 77 w 550"/>
                <a:gd name="T5" fmla="*/ 182 h 375"/>
                <a:gd name="T6" fmla="*/ 77 w 550"/>
                <a:gd name="T7" fmla="*/ 182 h 375"/>
                <a:gd name="T8" fmla="*/ 141 w 550"/>
                <a:gd name="T9" fmla="*/ 140 h 375"/>
                <a:gd name="T10" fmla="*/ 190 w 550"/>
                <a:gd name="T11" fmla="*/ 50 h 375"/>
                <a:gd name="T12" fmla="*/ 190 w 550"/>
                <a:gd name="T13" fmla="*/ 45 h 375"/>
                <a:gd name="T14" fmla="*/ 173 w 550"/>
                <a:gd name="T15" fmla="*/ 45 h 375"/>
                <a:gd name="T16" fmla="*/ 160 w 550"/>
                <a:gd name="T17" fmla="*/ 56 h 375"/>
                <a:gd name="T18" fmla="*/ 243 w 550"/>
                <a:gd name="T19" fmla="*/ 97 h 375"/>
                <a:gd name="T20" fmla="*/ 325 w 550"/>
                <a:gd name="T21" fmla="*/ 56 h 375"/>
                <a:gd name="T22" fmla="*/ 312 w 550"/>
                <a:gd name="T23" fmla="*/ 45 h 375"/>
                <a:gd name="T24" fmla="*/ 296 w 550"/>
                <a:gd name="T25" fmla="*/ 45 h 375"/>
                <a:gd name="T26" fmla="*/ 296 w 550"/>
                <a:gd name="T27" fmla="*/ 50 h 375"/>
                <a:gd name="T28" fmla="*/ 344 w 550"/>
                <a:gd name="T29" fmla="*/ 140 h 375"/>
                <a:gd name="T30" fmla="*/ 408 w 550"/>
                <a:gd name="T31" fmla="*/ 182 h 375"/>
                <a:gd name="T32" fmla="*/ 409 w 550"/>
                <a:gd name="T33" fmla="*/ 182 h 375"/>
                <a:gd name="T34" fmla="*/ 410 w 550"/>
                <a:gd name="T35" fmla="*/ 183 h 375"/>
                <a:gd name="T36" fmla="*/ 469 w 550"/>
                <a:gd name="T37" fmla="*/ 227 h 375"/>
                <a:gd name="T38" fmla="*/ 503 w 550"/>
                <a:gd name="T39" fmla="*/ 264 h 375"/>
                <a:gd name="T40" fmla="*/ 516 w 550"/>
                <a:gd name="T41" fmla="*/ 298 h 375"/>
                <a:gd name="T42" fmla="*/ 515 w 550"/>
                <a:gd name="T43" fmla="*/ 307 h 375"/>
                <a:gd name="T44" fmla="*/ 515 w 550"/>
                <a:gd name="T45" fmla="*/ 306 h 375"/>
                <a:gd name="T46" fmla="*/ 498 w 550"/>
                <a:gd name="T47" fmla="*/ 335 h 375"/>
                <a:gd name="T48" fmla="*/ 477 w 550"/>
                <a:gd name="T49" fmla="*/ 342 h 375"/>
                <a:gd name="T50" fmla="*/ 446 w 550"/>
                <a:gd name="T51" fmla="*/ 334 h 375"/>
                <a:gd name="T52" fmla="*/ 435 w 550"/>
                <a:gd name="T53" fmla="*/ 328 h 375"/>
                <a:gd name="T54" fmla="*/ 432 w 550"/>
                <a:gd name="T55" fmla="*/ 326 h 375"/>
                <a:gd name="T56" fmla="*/ 431 w 550"/>
                <a:gd name="T57" fmla="*/ 326 h 375"/>
                <a:gd name="T58" fmla="*/ 431 w 550"/>
                <a:gd name="T59" fmla="*/ 326 h 375"/>
                <a:gd name="T60" fmla="*/ 428 w 550"/>
                <a:gd name="T61" fmla="*/ 330 h 375"/>
                <a:gd name="T62" fmla="*/ 431 w 550"/>
                <a:gd name="T63" fmla="*/ 326 h 375"/>
                <a:gd name="T64" fmla="*/ 431 w 550"/>
                <a:gd name="T65" fmla="*/ 326 h 375"/>
                <a:gd name="T66" fmla="*/ 428 w 550"/>
                <a:gd name="T67" fmla="*/ 330 h 375"/>
                <a:gd name="T68" fmla="*/ 431 w 550"/>
                <a:gd name="T69" fmla="*/ 326 h 375"/>
                <a:gd name="T70" fmla="*/ 412 w 550"/>
                <a:gd name="T71" fmla="*/ 353 h 375"/>
                <a:gd name="T72" fmla="*/ 432 w 550"/>
                <a:gd name="T73" fmla="*/ 364 h 375"/>
                <a:gd name="T74" fmla="*/ 477 w 550"/>
                <a:gd name="T75" fmla="*/ 375 h 375"/>
                <a:gd name="T76" fmla="*/ 518 w 550"/>
                <a:gd name="T77" fmla="*/ 362 h 375"/>
                <a:gd name="T78" fmla="*/ 547 w 550"/>
                <a:gd name="T79" fmla="*/ 316 h 375"/>
                <a:gd name="T80" fmla="*/ 547 w 550"/>
                <a:gd name="T81" fmla="*/ 316 h 375"/>
                <a:gd name="T82" fmla="*/ 550 w 550"/>
                <a:gd name="T83" fmla="*/ 298 h 375"/>
                <a:gd name="T84" fmla="*/ 528 w 550"/>
                <a:gd name="T85" fmla="*/ 242 h 375"/>
                <a:gd name="T86" fmla="*/ 464 w 550"/>
                <a:gd name="T87" fmla="*/ 179 h 375"/>
                <a:gd name="T88" fmla="*/ 426 w 550"/>
                <a:gd name="T89" fmla="*/ 153 h 375"/>
                <a:gd name="T90" fmla="*/ 417 w 550"/>
                <a:gd name="T91" fmla="*/ 168 h 375"/>
                <a:gd name="T92" fmla="*/ 426 w 550"/>
                <a:gd name="T93" fmla="*/ 154 h 375"/>
                <a:gd name="T94" fmla="*/ 362 w 550"/>
                <a:gd name="T95" fmla="*/ 112 h 375"/>
                <a:gd name="T96" fmla="*/ 329 w 550"/>
                <a:gd name="T97" fmla="*/ 50 h 375"/>
                <a:gd name="T98" fmla="*/ 329 w 550"/>
                <a:gd name="T99" fmla="*/ 45 h 375"/>
                <a:gd name="T100" fmla="*/ 329 w 550"/>
                <a:gd name="T101" fmla="*/ 0 h 375"/>
                <a:gd name="T102" fmla="*/ 300 w 550"/>
                <a:gd name="T103" fmla="*/ 34 h 375"/>
                <a:gd name="T104" fmla="*/ 243 w 550"/>
                <a:gd name="T105" fmla="*/ 63 h 375"/>
                <a:gd name="T106" fmla="*/ 186 w 550"/>
                <a:gd name="T107" fmla="*/ 34 h 375"/>
                <a:gd name="T108" fmla="*/ 156 w 550"/>
                <a:gd name="T109" fmla="*/ 0 h 375"/>
                <a:gd name="T110" fmla="*/ 156 w 550"/>
                <a:gd name="T111" fmla="*/ 50 h 375"/>
                <a:gd name="T112" fmla="*/ 123 w 550"/>
                <a:gd name="T113" fmla="*/ 112 h 375"/>
                <a:gd name="T114" fmla="*/ 59 w 550"/>
                <a:gd name="T115" fmla="*/ 154 h 375"/>
                <a:gd name="T116" fmla="*/ 59 w 550"/>
                <a:gd name="T117" fmla="*/ 154 h 375"/>
                <a:gd name="T118" fmla="*/ 0 w 550"/>
                <a:gd name="T119" fmla="*/ 263 h 375"/>
                <a:gd name="T120" fmla="*/ 0 w 550"/>
                <a:gd name="T121" fmla="*/ 347 h 375"/>
                <a:gd name="T122" fmla="*/ 33 w 550"/>
                <a:gd name="T123" fmla="*/ 34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0" h="375">
                  <a:moveTo>
                    <a:pt x="33" y="347"/>
                  </a:moveTo>
                  <a:lnTo>
                    <a:pt x="33" y="263"/>
                  </a:lnTo>
                  <a:cubicBezTo>
                    <a:pt x="33" y="230"/>
                    <a:pt x="50" y="200"/>
                    <a:pt x="77" y="182"/>
                  </a:cubicBezTo>
                  <a:lnTo>
                    <a:pt x="77" y="182"/>
                  </a:lnTo>
                  <a:lnTo>
                    <a:pt x="141" y="140"/>
                  </a:lnTo>
                  <a:cubicBezTo>
                    <a:pt x="172" y="120"/>
                    <a:pt x="190" y="86"/>
                    <a:pt x="190" y="50"/>
                  </a:cubicBezTo>
                  <a:lnTo>
                    <a:pt x="190" y="45"/>
                  </a:lnTo>
                  <a:lnTo>
                    <a:pt x="173" y="45"/>
                  </a:lnTo>
                  <a:lnTo>
                    <a:pt x="160" y="56"/>
                  </a:lnTo>
                  <a:cubicBezTo>
                    <a:pt x="181" y="81"/>
                    <a:pt x="210" y="97"/>
                    <a:pt x="243" y="97"/>
                  </a:cubicBezTo>
                  <a:cubicBezTo>
                    <a:pt x="275" y="97"/>
                    <a:pt x="304" y="81"/>
                    <a:pt x="325" y="56"/>
                  </a:cubicBezTo>
                  <a:lnTo>
                    <a:pt x="312" y="45"/>
                  </a:lnTo>
                  <a:lnTo>
                    <a:pt x="296" y="45"/>
                  </a:lnTo>
                  <a:lnTo>
                    <a:pt x="296" y="50"/>
                  </a:lnTo>
                  <a:cubicBezTo>
                    <a:pt x="296" y="86"/>
                    <a:pt x="314" y="120"/>
                    <a:pt x="344" y="140"/>
                  </a:cubicBezTo>
                  <a:lnTo>
                    <a:pt x="408" y="182"/>
                  </a:lnTo>
                  <a:lnTo>
                    <a:pt x="409" y="182"/>
                  </a:lnTo>
                  <a:lnTo>
                    <a:pt x="410" y="183"/>
                  </a:lnTo>
                  <a:cubicBezTo>
                    <a:pt x="416" y="187"/>
                    <a:pt x="444" y="204"/>
                    <a:pt x="469" y="227"/>
                  </a:cubicBezTo>
                  <a:cubicBezTo>
                    <a:pt x="482" y="238"/>
                    <a:pt x="494" y="251"/>
                    <a:pt x="503" y="264"/>
                  </a:cubicBezTo>
                  <a:cubicBezTo>
                    <a:pt x="512" y="276"/>
                    <a:pt x="516" y="288"/>
                    <a:pt x="516" y="298"/>
                  </a:cubicBezTo>
                  <a:cubicBezTo>
                    <a:pt x="516" y="301"/>
                    <a:pt x="516" y="303"/>
                    <a:pt x="515" y="307"/>
                  </a:cubicBezTo>
                  <a:lnTo>
                    <a:pt x="515" y="306"/>
                  </a:lnTo>
                  <a:cubicBezTo>
                    <a:pt x="510" y="322"/>
                    <a:pt x="504" y="331"/>
                    <a:pt x="498" y="335"/>
                  </a:cubicBezTo>
                  <a:cubicBezTo>
                    <a:pt x="492" y="340"/>
                    <a:pt x="485" y="342"/>
                    <a:pt x="477" y="342"/>
                  </a:cubicBezTo>
                  <a:cubicBezTo>
                    <a:pt x="467" y="342"/>
                    <a:pt x="455" y="338"/>
                    <a:pt x="446" y="334"/>
                  </a:cubicBezTo>
                  <a:cubicBezTo>
                    <a:pt x="441" y="332"/>
                    <a:pt x="437" y="330"/>
                    <a:pt x="435" y="328"/>
                  </a:cubicBezTo>
                  <a:lnTo>
                    <a:pt x="432" y="326"/>
                  </a:lnTo>
                  <a:lnTo>
                    <a:pt x="431" y="326"/>
                  </a:lnTo>
                  <a:lnTo>
                    <a:pt x="431" y="326"/>
                  </a:lnTo>
                  <a:lnTo>
                    <a:pt x="428" y="330"/>
                  </a:lnTo>
                  <a:lnTo>
                    <a:pt x="431" y="326"/>
                  </a:lnTo>
                  <a:lnTo>
                    <a:pt x="431" y="326"/>
                  </a:lnTo>
                  <a:lnTo>
                    <a:pt x="428" y="330"/>
                  </a:lnTo>
                  <a:lnTo>
                    <a:pt x="431" y="326"/>
                  </a:lnTo>
                  <a:lnTo>
                    <a:pt x="412" y="353"/>
                  </a:lnTo>
                  <a:cubicBezTo>
                    <a:pt x="412" y="353"/>
                    <a:pt x="420" y="359"/>
                    <a:pt x="432" y="364"/>
                  </a:cubicBezTo>
                  <a:cubicBezTo>
                    <a:pt x="443" y="369"/>
                    <a:pt x="459" y="375"/>
                    <a:pt x="477" y="375"/>
                  </a:cubicBezTo>
                  <a:cubicBezTo>
                    <a:pt x="490" y="375"/>
                    <a:pt x="505" y="372"/>
                    <a:pt x="518" y="362"/>
                  </a:cubicBezTo>
                  <a:cubicBezTo>
                    <a:pt x="531" y="352"/>
                    <a:pt x="541" y="337"/>
                    <a:pt x="547" y="316"/>
                  </a:cubicBezTo>
                  <a:lnTo>
                    <a:pt x="547" y="316"/>
                  </a:lnTo>
                  <a:cubicBezTo>
                    <a:pt x="549" y="310"/>
                    <a:pt x="550" y="304"/>
                    <a:pt x="550" y="298"/>
                  </a:cubicBezTo>
                  <a:cubicBezTo>
                    <a:pt x="549" y="277"/>
                    <a:pt x="540" y="258"/>
                    <a:pt x="528" y="242"/>
                  </a:cubicBezTo>
                  <a:cubicBezTo>
                    <a:pt x="510" y="217"/>
                    <a:pt x="485" y="195"/>
                    <a:pt x="464" y="179"/>
                  </a:cubicBezTo>
                  <a:cubicBezTo>
                    <a:pt x="443" y="164"/>
                    <a:pt x="426" y="154"/>
                    <a:pt x="426" y="153"/>
                  </a:cubicBezTo>
                  <a:lnTo>
                    <a:pt x="417" y="168"/>
                  </a:lnTo>
                  <a:lnTo>
                    <a:pt x="426" y="154"/>
                  </a:lnTo>
                  <a:lnTo>
                    <a:pt x="362" y="112"/>
                  </a:lnTo>
                  <a:cubicBezTo>
                    <a:pt x="342" y="98"/>
                    <a:pt x="329" y="75"/>
                    <a:pt x="329" y="50"/>
                  </a:cubicBezTo>
                  <a:lnTo>
                    <a:pt x="329" y="45"/>
                  </a:lnTo>
                  <a:lnTo>
                    <a:pt x="329" y="0"/>
                  </a:lnTo>
                  <a:lnTo>
                    <a:pt x="300" y="34"/>
                  </a:lnTo>
                  <a:cubicBezTo>
                    <a:pt x="283" y="53"/>
                    <a:pt x="264" y="63"/>
                    <a:pt x="243" y="63"/>
                  </a:cubicBezTo>
                  <a:cubicBezTo>
                    <a:pt x="222" y="63"/>
                    <a:pt x="202" y="53"/>
                    <a:pt x="186" y="34"/>
                  </a:cubicBezTo>
                  <a:lnTo>
                    <a:pt x="156" y="0"/>
                  </a:lnTo>
                  <a:lnTo>
                    <a:pt x="156" y="50"/>
                  </a:lnTo>
                  <a:cubicBezTo>
                    <a:pt x="156" y="75"/>
                    <a:pt x="144" y="98"/>
                    <a:pt x="123" y="112"/>
                  </a:cubicBezTo>
                  <a:lnTo>
                    <a:pt x="59" y="154"/>
                  </a:lnTo>
                  <a:lnTo>
                    <a:pt x="59" y="154"/>
                  </a:lnTo>
                  <a:cubicBezTo>
                    <a:pt x="22" y="178"/>
                    <a:pt x="0" y="219"/>
                    <a:pt x="0" y="263"/>
                  </a:cubicBezTo>
                  <a:lnTo>
                    <a:pt x="0" y="347"/>
                  </a:lnTo>
                  <a:lnTo>
                    <a:pt x="33" y="34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209">
              <a:extLst>
                <a:ext uri="{FF2B5EF4-FFF2-40B4-BE49-F238E27FC236}">
                  <a16:creationId xmlns:a16="http://schemas.microsoft.com/office/drawing/2014/main" id="{C9FA3CA4-942A-4696-BB06-D6813A429D4D}"/>
                </a:ext>
              </a:extLst>
            </p:cNvPr>
            <p:cNvSpPr>
              <a:spLocks/>
            </p:cNvSpPr>
            <p:nvPr/>
          </p:nvSpPr>
          <p:spPr bwMode="auto">
            <a:xfrm>
              <a:off x="4387851" y="6589713"/>
              <a:ext cx="92075" cy="6350"/>
            </a:xfrm>
            <a:custGeom>
              <a:avLst/>
              <a:gdLst>
                <a:gd name="T0" fmla="*/ 0 w 451"/>
                <a:gd name="T1" fmla="*/ 33 h 35"/>
                <a:gd name="T2" fmla="*/ 451 w 451"/>
                <a:gd name="T3" fmla="*/ 35 h 35"/>
                <a:gd name="T4" fmla="*/ 451 w 451"/>
                <a:gd name="T5" fmla="*/ 1 h 35"/>
                <a:gd name="T6" fmla="*/ 0 w 451"/>
                <a:gd name="T7" fmla="*/ 0 h 35"/>
              </a:gdLst>
              <a:ahLst/>
              <a:cxnLst>
                <a:cxn ang="0">
                  <a:pos x="T0" y="T1"/>
                </a:cxn>
                <a:cxn ang="0">
                  <a:pos x="T2" y="T3"/>
                </a:cxn>
                <a:cxn ang="0">
                  <a:pos x="T4" y="T5"/>
                </a:cxn>
                <a:cxn ang="0">
                  <a:pos x="T6" y="T7"/>
                </a:cxn>
              </a:cxnLst>
              <a:rect l="0" t="0" r="r" b="b"/>
              <a:pathLst>
                <a:path w="451" h="35">
                  <a:moveTo>
                    <a:pt x="0" y="33"/>
                  </a:moveTo>
                  <a:lnTo>
                    <a:pt x="451" y="35"/>
                  </a:lnTo>
                  <a:lnTo>
                    <a:pt x="451" y="1"/>
                  </a:lnTo>
                  <a:lnTo>
                    <a:pt x="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210">
              <a:extLst>
                <a:ext uri="{FF2B5EF4-FFF2-40B4-BE49-F238E27FC236}">
                  <a16:creationId xmlns:a16="http://schemas.microsoft.com/office/drawing/2014/main" id="{A98A4DCF-7B23-4635-84C9-EE22D60066D3}"/>
                </a:ext>
              </a:extLst>
            </p:cNvPr>
            <p:cNvSpPr>
              <a:spLocks/>
            </p:cNvSpPr>
            <p:nvPr/>
          </p:nvSpPr>
          <p:spPr bwMode="auto">
            <a:xfrm>
              <a:off x="4408488" y="6477001"/>
              <a:ext cx="50800" cy="38100"/>
            </a:xfrm>
            <a:custGeom>
              <a:avLst/>
              <a:gdLst>
                <a:gd name="T0" fmla="*/ 17 w 248"/>
                <a:gd name="T1" fmla="*/ 17 h 180"/>
                <a:gd name="T2" fmla="*/ 0 w 248"/>
                <a:gd name="T3" fmla="*/ 17 h 180"/>
                <a:gd name="T4" fmla="*/ 41 w 248"/>
                <a:gd name="T5" fmla="*/ 139 h 180"/>
                <a:gd name="T6" fmla="*/ 41 w 248"/>
                <a:gd name="T7" fmla="*/ 139 h 180"/>
                <a:gd name="T8" fmla="*/ 124 w 248"/>
                <a:gd name="T9" fmla="*/ 180 h 180"/>
                <a:gd name="T10" fmla="*/ 206 w 248"/>
                <a:gd name="T11" fmla="*/ 139 h 180"/>
                <a:gd name="T12" fmla="*/ 206 w 248"/>
                <a:gd name="T13" fmla="*/ 139 h 180"/>
                <a:gd name="T14" fmla="*/ 248 w 248"/>
                <a:gd name="T15" fmla="*/ 17 h 180"/>
                <a:gd name="T16" fmla="*/ 248 w 248"/>
                <a:gd name="T17" fmla="*/ 0 h 180"/>
                <a:gd name="T18" fmla="*/ 0 w 248"/>
                <a:gd name="T19" fmla="*/ 0 h 180"/>
                <a:gd name="T20" fmla="*/ 0 w 248"/>
                <a:gd name="T21" fmla="*/ 17 h 180"/>
                <a:gd name="T22" fmla="*/ 17 w 248"/>
                <a:gd name="T23" fmla="*/ 17 h 180"/>
                <a:gd name="T24" fmla="*/ 17 w 248"/>
                <a:gd name="T25" fmla="*/ 33 h 180"/>
                <a:gd name="T26" fmla="*/ 231 w 248"/>
                <a:gd name="T27" fmla="*/ 33 h 180"/>
                <a:gd name="T28" fmla="*/ 231 w 248"/>
                <a:gd name="T29" fmla="*/ 17 h 180"/>
                <a:gd name="T30" fmla="*/ 214 w 248"/>
                <a:gd name="T31" fmla="*/ 17 h 180"/>
                <a:gd name="T32" fmla="*/ 181 w 248"/>
                <a:gd name="T33" fmla="*/ 117 h 180"/>
                <a:gd name="T34" fmla="*/ 181 w 248"/>
                <a:gd name="T35" fmla="*/ 117 h 180"/>
                <a:gd name="T36" fmla="*/ 124 w 248"/>
                <a:gd name="T37" fmla="*/ 146 h 180"/>
                <a:gd name="T38" fmla="*/ 67 w 248"/>
                <a:gd name="T39" fmla="*/ 117 h 180"/>
                <a:gd name="T40" fmla="*/ 67 w 248"/>
                <a:gd name="T41" fmla="*/ 117 h 180"/>
                <a:gd name="T42" fmla="*/ 33 w 248"/>
                <a:gd name="T43" fmla="*/ 17 h 180"/>
                <a:gd name="T44" fmla="*/ 17 w 248"/>
                <a:gd name="T45" fmla="*/ 17 h 180"/>
                <a:gd name="T46" fmla="*/ 17 w 248"/>
                <a:gd name="T47" fmla="*/ 33 h 180"/>
                <a:gd name="T48" fmla="*/ 17 w 248"/>
                <a:gd name="T49"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8" h="180">
                  <a:moveTo>
                    <a:pt x="17" y="17"/>
                  </a:moveTo>
                  <a:lnTo>
                    <a:pt x="0" y="17"/>
                  </a:lnTo>
                  <a:cubicBezTo>
                    <a:pt x="0" y="65"/>
                    <a:pt x="15" y="108"/>
                    <a:pt x="41" y="139"/>
                  </a:cubicBezTo>
                  <a:lnTo>
                    <a:pt x="41" y="139"/>
                  </a:lnTo>
                  <a:cubicBezTo>
                    <a:pt x="62" y="164"/>
                    <a:pt x="91" y="180"/>
                    <a:pt x="124" y="180"/>
                  </a:cubicBezTo>
                  <a:cubicBezTo>
                    <a:pt x="156" y="180"/>
                    <a:pt x="185" y="164"/>
                    <a:pt x="206" y="139"/>
                  </a:cubicBezTo>
                  <a:lnTo>
                    <a:pt x="206" y="139"/>
                  </a:lnTo>
                  <a:cubicBezTo>
                    <a:pt x="232" y="109"/>
                    <a:pt x="248" y="65"/>
                    <a:pt x="248" y="17"/>
                  </a:cubicBezTo>
                  <a:lnTo>
                    <a:pt x="248" y="0"/>
                  </a:lnTo>
                  <a:lnTo>
                    <a:pt x="0" y="0"/>
                  </a:lnTo>
                  <a:lnTo>
                    <a:pt x="0" y="17"/>
                  </a:lnTo>
                  <a:lnTo>
                    <a:pt x="17" y="17"/>
                  </a:lnTo>
                  <a:lnTo>
                    <a:pt x="17" y="33"/>
                  </a:lnTo>
                  <a:lnTo>
                    <a:pt x="231" y="33"/>
                  </a:lnTo>
                  <a:lnTo>
                    <a:pt x="231" y="17"/>
                  </a:lnTo>
                  <a:lnTo>
                    <a:pt x="214" y="17"/>
                  </a:lnTo>
                  <a:cubicBezTo>
                    <a:pt x="214" y="58"/>
                    <a:pt x="201" y="94"/>
                    <a:pt x="181" y="117"/>
                  </a:cubicBezTo>
                  <a:lnTo>
                    <a:pt x="181" y="117"/>
                  </a:lnTo>
                  <a:cubicBezTo>
                    <a:pt x="164" y="136"/>
                    <a:pt x="145" y="146"/>
                    <a:pt x="124" y="146"/>
                  </a:cubicBezTo>
                  <a:cubicBezTo>
                    <a:pt x="103" y="146"/>
                    <a:pt x="83" y="136"/>
                    <a:pt x="67" y="117"/>
                  </a:cubicBezTo>
                  <a:lnTo>
                    <a:pt x="67" y="117"/>
                  </a:lnTo>
                  <a:cubicBezTo>
                    <a:pt x="47" y="94"/>
                    <a:pt x="33" y="58"/>
                    <a:pt x="33" y="17"/>
                  </a:cubicBezTo>
                  <a:lnTo>
                    <a:pt x="17" y="17"/>
                  </a:lnTo>
                  <a:lnTo>
                    <a:pt x="17" y="33"/>
                  </a:lnTo>
                  <a:lnTo>
                    <a:pt x="17"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211">
              <a:extLst>
                <a:ext uri="{FF2B5EF4-FFF2-40B4-BE49-F238E27FC236}">
                  <a16:creationId xmlns:a16="http://schemas.microsoft.com/office/drawing/2014/main" id="{8ADD6243-A3BE-4EBC-B84B-39E66EFD550B}"/>
                </a:ext>
              </a:extLst>
            </p:cNvPr>
            <p:cNvSpPr>
              <a:spLocks/>
            </p:cNvSpPr>
            <p:nvPr/>
          </p:nvSpPr>
          <p:spPr bwMode="auto">
            <a:xfrm>
              <a:off x="4398963" y="6440488"/>
              <a:ext cx="69850" cy="44450"/>
            </a:xfrm>
            <a:custGeom>
              <a:avLst/>
              <a:gdLst>
                <a:gd name="T0" fmla="*/ 16 w 342"/>
                <a:gd name="T1" fmla="*/ 196 h 213"/>
                <a:gd name="T2" fmla="*/ 16 w 342"/>
                <a:gd name="T3" fmla="*/ 212 h 213"/>
                <a:gd name="T4" fmla="*/ 342 w 342"/>
                <a:gd name="T5" fmla="*/ 213 h 213"/>
                <a:gd name="T6" fmla="*/ 342 w 342"/>
                <a:gd name="T7" fmla="*/ 196 h 213"/>
                <a:gd name="T8" fmla="*/ 293 w 342"/>
                <a:gd name="T9" fmla="*/ 58 h 213"/>
                <a:gd name="T10" fmla="*/ 171 w 342"/>
                <a:gd name="T11" fmla="*/ 0 h 213"/>
                <a:gd name="T12" fmla="*/ 49 w 342"/>
                <a:gd name="T13" fmla="*/ 58 h 213"/>
                <a:gd name="T14" fmla="*/ 0 w 342"/>
                <a:gd name="T15" fmla="*/ 196 h 213"/>
                <a:gd name="T16" fmla="*/ 0 w 342"/>
                <a:gd name="T17" fmla="*/ 212 h 213"/>
                <a:gd name="T18" fmla="*/ 16 w 342"/>
                <a:gd name="T19" fmla="*/ 212 h 213"/>
                <a:gd name="T20" fmla="*/ 16 w 342"/>
                <a:gd name="T21" fmla="*/ 196 h 213"/>
                <a:gd name="T22" fmla="*/ 33 w 342"/>
                <a:gd name="T23" fmla="*/ 196 h 213"/>
                <a:gd name="T24" fmla="*/ 74 w 342"/>
                <a:gd name="T25" fmla="*/ 80 h 213"/>
                <a:gd name="T26" fmla="*/ 171 w 342"/>
                <a:gd name="T27" fmla="*/ 34 h 213"/>
                <a:gd name="T28" fmla="*/ 268 w 342"/>
                <a:gd name="T29" fmla="*/ 80 h 213"/>
                <a:gd name="T30" fmla="*/ 309 w 342"/>
                <a:gd name="T31" fmla="*/ 196 h 213"/>
                <a:gd name="T32" fmla="*/ 326 w 342"/>
                <a:gd name="T33" fmla="*/ 196 h 213"/>
                <a:gd name="T34" fmla="*/ 326 w 342"/>
                <a:gd name="T35" fmla="*/ 179 h 213"/>
                <a:gd name="T36" fmla="*/ 16 w 342"/>
                <a:gd name="T37" fmla="*/ 179 h 213"/>
                <a:gd name="T38" fmla="*/ 16 w 342"/>
                <a:gd name="T39" fmla="*/ 196 h 213"/>
                <a:gd name="T40" fmla="*/ 33 w 342"/>
                <a:gd name="T41" fmla="*/ 196 h 213"/>
                <a:gd name="T42" fmla="*/ 16 w 342"/>
                <a:gd name="T43"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213">
                  <a:moveTo>
                    <a:pt x="16" y="196"/>
                  </a:moveTo>
                  <a:lnTo>
                    <a:pt x="16" y="212"/>
                  </a:lnTo>
                  <a:lnTo>
                    <a:pt x="342" y="213"/>
                  </a:lnTo>
                  <a:lnTo>
                    <a:pt x="342" y="196"/>
                  </a:lnTo>
                  <a:cubicBezTo>
                    <a:pt x="342" y="143"/>
                    <a:pt x="324" y="94"/>
                    <a:pt x="293" y="58"/>
                  </a:cubicBezTo>
                  <a:cubicBezTo>
                    <a:pt x="262" y="23"/>
                    <a:pt x="219" y="0"/>
                    <a:pt x="171" y="0"/>
                  </a:cubicBezTo>
                  <a:cubicBezTo>
                    <a:pt x="123" y="0"/>
                    <a:pt x="80" y="23"/>
                    <a:pt x="49" y="58"/>
                  </a:cubicBezTo>
                  <a:cubicBezTo>
                    <a:pt x="18" y="94"/>
                    <a:pt x="0" y="142"/>
                    <a:pt x="0" y="196"/>
                  </a:cubicBezTo>
                  <a:lnTo>
                    <a:pt x="0" y="212"/>
                  </a:lnTo>
                  <a:lnTo>
                    <a:pt x="16" y="212"/>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16" y="179"/>
                  </a:lnTo>
                  <a:lnTo>
                    <a:pt x="16" y="196"/>
                  </a:lnTo>
                  <a:lnTo>
                    <a:pt x="33" y="196"/>
                  </a:lnTo>
                  <a:lnTo>
                    <a:pt x="1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212">
              <a:extLst>
                <a:ext uri="{FF2B5EF4-FFF2-40B4-BE49-F238E27FC236}">
                  <a16:creationId xmlns:a16="http://schemas.microsoft.com/office/drawing/2014/main" id="{62F485EF-863D-4506-9827-2F8A5A5CE103}"/>
                </a:ext>
              </a:extLst>
            </p:cNvPr>
            <p:cNvSpPr>
              <a:spLocks/>
            </p:cNvSpPr>
            <p:nvPr/>
          </p:nvSpPr>
          <p:spPr bwMode="auto">
            <a:xfrm>
              <a:off x="44307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213">
              <a:extLst>
                <a:ext uri="{FF2B5EF4-FFF2-40B4-BE49-F238E27FC236}">
                  <a16:creationId xmlns:a16="http://schemas.microsoft.com/office/drawing/2014/main" id="{8E73C4F5-8317-4692-B1E0-3317C766321E}"/>
                </a:ext>
              </a:extLst>
            </p:cNvPr>
            <p:cNvSpPr>
              <a:spLocks/>
            </p:cNvSpPr>
            <p:nvPr/>
          </p:nvSpPr>
          <p:spPr bwMode="auto">
            <a:xfrm>
              <a:off x="4406901" y="6535738"/>
              <a:ext cx="50800" cy="57150"/>
            </a:xfrm>
            <a:custGeom>
              <a:avLst/>
              <a:gdLst>
                <a:gd name="T0" fmla="*/ 251 w 251"/>
                <a:gd name="T1" fmla="*/ 28 h 279"/>
                <a:gd name="T2" fmla="*/ 202 w 251"/>
                <a:gd name="T3" fmla="*/ 0 h 279"/>
                <a:gd name="T4" fmla="*/ 67 w 251"/>
                <a:gd name="T5" fmla="*/ 0 h 279"/>
                <a:gd name="T6" fmla="*/ 11 w 251"/>
                <a:gd name="T7" fmla="*/ 56 h 279"/>
                <a:gd name="T8" fmla="*/ 27 w 251"/>
                <a:gd name="T9" fmla="*/ 56 h 279"/>
                <a:gd name="T10" fmla="*/ 11 w 251"/>
                <a:gd name="T11" fmla="*/ 55 h 279"/>
                <a:gd name="T12" fmla="*/ 0 w 251"/>
                <a:gd name="T13" fmla="*/ 278 h 279"/>
                <a:gd name="T14" fmla="*/ 34 w 251"/>
                <a:gd name="T15" fmla="*/ 279 h 279"/>
                <a:gd name="T16" fmla="*/ 44 w 251"/>
                <a:gd name="T17" fmla="*/ 57 h 279"/>
                <a:gd name="T18" fmla="*/ 44 w 251"/>
                <a:gd name="T19" fmla="*/ 56 h 279"/>
                <a:gd name="T20" fmla="*/ 67 w 251"/>
                <a:gd name="T21" fmla="*/ 33 h 279"/>
                <a:gd name="T22" fmla="*/ 202 w 251"/>
                <a:gd name="T23" fmla="*/ 33 h 279"/>
                <a:gd name="T24" fmla="*/ 222 w 251"/>
                <a:gd name="T25" fmla="*/ 45 h 279"/>
                <a:gd name="T26" fmla="*/ 251 w 251"/>
                <a:gd name="T27" fmla="*/ 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279">
                  <a:moveTo>
                    <a:pt x="251" y="28"/>
                  </a:moveTo>
                  <a:cubicBezTo>
                    <a:pt x="242" y="12"/>
                    <a:pt x="223" y="0"/>
                    <a:pt x="202" y="0"/>
                  </a:cubicBezTo>
                  <a:lnTo>
                    <a:pt x="67" y="0"/>
                  </a:lnTo>
                  <a:cubicBezTo>
                    <a:pt x="36" y="0"/>
                    <a:pt x="11" y="25"/>
                    <a:pt x="11" y="56"/>
                  </a:cubicBezTo>
                  <a:lnTo>
                    <a:pt x="27" y="56"/>
                  </a:lnTo>
                  <a:lnTo>
                    <a:pt x="11" y="55"/>
                  </a:lnTo>
                  <a:lnTo>
                    <a:pt x="0" y="278"/>
                  </a:lnTo>
                  <a:lnTo>
                    <a:pt x="34" y="279"/>
                  </a:lnTo>
                  <a:lnTo>
                    <a:pt x="44" y="57"/>
                  </a:lnTo>
                  <a:lnTo>
                    <a:pt x="44" y="56"/>
                  </a:lnTo>
                  <a:cubicBezTo>
                    <a:pt x="44" y="43"/>
                    <a:pt x="54" y="33"/>
                    <a:pt x="67" y="33"/>
                  </a:cubicBezTo>
                  <a:lnTo>
                    <a:pt x="202" y="33"/>
                  </a:lnTo>
                  <a:cubicBezTo>
                    <a:pt x="211" y="33"/>
                    <a:pt x="218" y="38"/>
                    <a:pt x="222" y="45"/>
                  </a:cubicBezTo>
                  <a:lnTo>
                    <a:pt x="251" y="2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214">
              <a:extLst>
                <a:ext uri="{FF2B5EF4-FFF2-40B4-BE49-F238E27FC236}">
                  <a16:creationId xmlns:a16="http://schemas.microsoft.com/office/drawing/2014/main" id="{DB324A61-EE66-4997-8CDE-CB7657EDF645}"/>
                </a:ext>
              </a:extLst>
            </p:cNvPr>
            <p:cNvSpPr>
              <a:spLocks/>
            </p:cNvSpPr>
            <p:nvPr/>
          </p:nvSpPr>
          <p:spPr bwMode="auto">
            <a:xfrm>
              <a:off x="4446588" y="6521451"/>
              <a:ext cx="14288" cy="19050"/>
            </a:xfrm>
            <a:custGeom>
              <a:avLst/>
              <a:gdLst>
                <a:gd name="T0" fmla="*/ 41 w 71"/>
                <a:gd name="T1" fmla="*/ 0 h 99"/>
                <a:gd name="T2" fmla="*/ 0 w 71"/>
                <a:gd name="T3" fmla="*/ 84 h 99"/>
                <a:gd name="T4" fmla="*/ 29 w 71"/>
                <a:gd name="T5" fmla="*/ 99 h 99"/>
                <a:gd name="T6" fmla="*/ 71 w 71"/>
                <a:gd name="T7" fmla="*/ 15 h 99"/>
              </a:gdLst>
              <a:ahLst/>
              <a:cxnLst>
                <a:cxn ang="0">
                  <a:pos x="T0" y="T1"/>
                </a:cxn>
                <a:cxn ang="0">
                  <a:pos x="T2" y="T3"/>
                </a:cxn>
                <a:cxn ang="0">
                  <a:pos x="T4" y="T5"/>
                </a:cxn>
                <a:cxn ang="0">
                  <a:pos x="T6" y="T7"/>
                </a:cxn>
              </a:cxnLst>
              <a:rect l="0" t="0" r="r" b="b"/>
              <a:pathLst>
                <a:path w="71" h="99">
                  <a:moveTo>
                    <a:pt x="41" y="0"/>
                  </a:moveTo>
                  <a:lnTo>
                    <a:pt x="0" y="84"/>
                  </a:lnTo>
                  <a:lnTo>
                    <a:pt x="29" y="99"/>
                  </a:lnTo>
                  <a:lnTo>
                    <a:pt x="71" y="1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215">
              <a:extLst>
                <a:ext uri="{FF2B5EF4-FFF2-40B4-BE49-F238E27FC236}">
                  <a16:creationId xmlns:a16="http://schemas.microsoft.com/office/drawing/2014/main" id="{2BD6E627-4ED0-435A-AB2E-8A3C3861C2D7}"/>
                </a:ext>
              </a:extLst>
            </p:cNvPr>
            <p:cNvSpPr>
              <a:spLocks/>
            </p:cNvSpPr>
            <p:nvPr/>
          </p:nvSpPr>
          <p:spPr bwMode="auto">
            <a:xfrm>
              <a:off x="4406901" y="6521451"/>
              <a:ext cx="14288" cy="19050"/>
            </a:xfrm>
            <a:custGeom>
              <a:avLst/>
              <a:gdLst>
                <a:gd name="T0" fmla="*/ 0 w 72"/>
                <a:gd name="T1" fmla="*/ 14 h 99"/>
                <a:gd name="T2" fmla="*/ 42 w 72"/>
                <a:gd name="T3" fmla="*/ 99 h 99"/>
                <a:gd name="T4" fmla="*/ 72 w 72"/>
                <a:gd name="T5" fmla="*/ 84 h 99"/>
                <a:gd name="T6" fmla="*/ 30 w 72"/>
                <a:gd name="T7" fmla="*/ 0 h 99"/>
              </a:gdLst>
              <a:ahLst/>
              <a:cxnLst>
                <a:cxn ang="0">
                  <a:pos x="T0" y="T1"/>
                </a:cxn>
                <a:cxn ang="0">
                  <a:pos x="T2" y="T3"/>
                </a:cxn>
                <a:cxn ang="0">
                  <a:pos x="T4" y="T5"/>
                </a:cxn>
                <a:cxn ang="0">
                  <a:pos x="T6" y="T7"/>
                </a:cxn>
              </a:cxnLst>
              <a:rect l="0" t="0" r="r" b="b"/>
              <a:pathLst>
                <a:path w="72" h="99">
                  <a:moveTo>
                    <a:pt x="0" y="14"/>
                  </a:moveTo>
                  <a:lnTo>
                    <a:pt x="42" y="99"/>
                  </a:lnTo>
                  <a:lnTo>
                    <a:pt x="72"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216">
              <a:extLst>
                <a:ext uri="{FF2B5EF4-FFF2-40B4-BE49-F238E27FC236}">
                  <a16:creationId xmlns:a16="http://schemas.microsoft.com/office/drawing/2014/main" id="{8D0D22CF-416D-4444-90F8-98DA26CB8F9B}"/>
                </a:ext>
              </a:extLst>
            </p:cNvPr>
            <p:cNvSpPr>
              <a:spLocks/>
            </p:cNvSpPr>
            <p:nvPr/>
          </p:nvSpPr>
          <p:spPr bwMode="auto">
            <a:xfrm>
              <a:off x="4406901" y="6627813"/>
              <a:ext cx="55563" cy="74613"/>
            </a:xfrm>
            <a:custGeom>
              <a:avLst/>
              <a:gdLst>
                <a:gd name="T0" fmla="*/ 30 w 35"/>
                <a:gd name="T1" fmla="*/ 0 h 47"/>
                <a:gd name="T2" fmla="*/ 30 w 35"/>
                <a:gd name="T3" fmla="*/ 43 h 47"/>
                <a:gd name="T4" fmla="*/ 4 w 35"/>
                <a:gd name="T5" fmla="*/ 43 h 47"/>
                <a:gd name="T6" fmla="*/ 4 w 35"/>
                <a:gd name="T7" fmla="*/ 0 h 47"/>
                <a:gd name="T8" fmla="*/ 0 w 35"/>
                <a:gd name="T9" fmla="*/ 0 h 47"/>
                <a:gd name="T10" fmla="*/ 0 w 35"/>
                <a:gd name="T11" fmla="*/ 47 h 47"/>
                <a:gd name="T12" fmla="*/ 35 w 35"/>
                <a:gd name="T13" fmla="*/ 47 h 47"/>
                <a:gd name="T14" fmla="*/ 35 w 35"/>
                <a:gd name="T15" fmla="*/ 0 h 47"/>
                <a:gd name="T16" fmla="*/ 3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30" y="0"/>
                  </a:moveTo>
                  <a:lnTo>
                    <a:pt x="30" y="43"/>
                  </a:lnTo>
                  <a:lnTo>
                    <a:pt x="4" y="43"/>
                  </a:lnTo>
                  <a:lnTo>
                    <a:pt x="4" y="0"/>
                  </a:lnTo>
                  <a:lnTo>
                    <a:pt x="0" y="0"/>
                  </a:lnTo>
                  <a:lnTo>
                    <a:pt x="0" y="47"/>
                  </a:lnTo>
                  <a:lnTo>
                    <a:pt x="35" y="47"/>
                  </a:lnTo>
                  <a:lnTo>
                    <a:pt x="35" y="0"/>
                  </a:lnTo>
                  <a:lnTo>
                    <a:pt x="3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217">
              <a:extLst>
                <a:ext uri="{FF2B5EF4-FFF2-40B4-BE49-F238E27FC236}">
                  <a16:creationId xmlns:a16="http://schemas.microsoft.com/office/drawing/2014/main" id="{874BBD77-6A2B-4929-9E60-95D2600C9745}"/>
                </a:ext>
              </a:extLst>
            </p:cNvPr>
            <p:cNvSpPr>
              <a:spLocks/>
            </p:cNvSpPr>
            <p:nvPr/>
          </p:nvSpPr>
          <p:spPr bwMode="auto">
            <a:xfrm>
              <a:off x="4430713" y="6640513"/>
              <a:ext cx="41275" cy="84138"/>
            </a:xfrm>
            <a:custGeom>
              <a:avLst/>
              <a:gdLst>
                <a:gd name="T0" fmla="*/ 126 w 203"/>
                <a:gd name="T1" fmla="*/ 296 h 406"/>
                <a:gd name="T2" fmla="*/ 129 w 203"/>
                <a:gd name="T3" fmla="*/ 291 h 406"/>
                <a:gd name="T4" fmla="*/ 126 w 203"/>
                <a:gd name="T5" fmla="*/ 296 h 406"/>
                <a:gd name="T6" fmla="*/ 126 w 203"/>
                <a:gd name="T7" fmla="*/ 296 h 406"/>
                <a:gd name="T8" fmla="*/ 129 w 203"/>
                <a:gd name="T9" fmla="*/ 291 h 406"/>
                <a:gd name="T10" fmla="*/ 126 w 203"/>
                <a:gd name="T11" fmla="*/ 296 h 406"/>
                <a:gd name="T12" fmla="*/ 148 w 203"/>
                <a:gd name="T13" fmla="*/ 319 h 406"/>
                <a:gd name="T14" fmla="*/ 170 w 203"/>
                <a:gd name="T15" fmla="*/ 389 h 406"/>
                <a:gd name="T16" fmla="*/ 187 w 203"/>
                <a:gd name="T17" fmla="*/ 389 h 406"/>
                <a:gd name="T18" fmla="*/ 187 w 203"/>
                <a:gd name="T19" fmla="*/ 373 h 406"/>
                <a:gd name="T20" fmla="*/ 33 w 203"/>
                <a:gd name="T21" fmla="*/ 373 h 406"/>
                <a:gd name="T22" fmla="*/ 33 w 203"/>
                <a:gd name="T23" fmla="*/ 282 h 406"/>
                <a:gd name="T24" fmla="*/ 33 w 203"/>
                <a:gd name="T25" fmla="*/ 0 h 406"/>
                <a:gd name="T26" fmla="*/ 0 w 203"/>
                <a:gd name="T27" fmla="*/ 0 h 406"/>
                <a:gd name="T28" fmla="*/ 0 w 203"/>
                <a:gd name="T29" fmla="*/ 282 h 406"/>
                <a:gd name="T30" fmla="*/ 0 w 203"/>
                <a:gd name="T31" fmla="*/ 406 h 406"/>
                <a:gd name="T32" fmla="*/ 203 w 203"/>
                <a:gd name="T33" fmla="*/ 406 h 406"/>
                <a:gd name="T34" fmla="*/ 203 w 203"/>
                <a:gd name="T35" fmla="*/ 389 h 406"/>
                <a:gd name="T36" fmla="*/ 174 w 203"/>
                <a:gd name="T37" fmla="*/ 297 h 406"/>
                <a:gd name="T38" fmla="*/ 143 w 203"/>
                <a:gd name="T39" fmla="*/ 268 h 406"/>
                <a:gd name="T40" fmla="*/ 126 w 203"/>
                <a:gd name="T41" fmla="*/ 29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406">
                  <a:moveTo>
                    <a:pt x="126" y="296"/>
                  </a:moveTo>
                  <a:lnTo>
                    <a:pt x="129" y="291"/>
                  </a:lnTo>
                  <a:lnTo>
                    <a:pt x="126" y="296"/>
                  </a:lnTo>
                  <a:lnTo>
                    <a:pt x="126" y="296"/>
                  </a:lnTo>
                  <a:lnTo>
                    <a:pt x="129" y="291"/>
                  </a:lnTo>
                  <a:lnTo>
                    <a:pt x="126" y="296"/>
                  </a:lnTo>
                  <a:cubicBezTo>
                    <a:pt x="126" y="296"/>
                    <a:pt x="137" y="304"/>
                    <a:pt x="148" y="319"/>
                  </a:cubicBezTo>
                  <a:cubicBezTo>
                    <a:pt x="159" y="334"/>
                    <a:pt x="170" y="356"/>
                    <a:pt x="170" y="389"/>
                  </a:cubicBezTo>
                  <a:lnTo>
                    <a:pt x="187" y="389"/>
                  </a:lnTo>
                  <a:lnTo>
                    <a:pt x="187" y="373"/>
                  </a:lnTo>
                  <a:lnTo>
                    <a:pt x="33" y="373"/>
                  </a:lnTo>
                  <a:lnTo>
                    <a:pt x="33" y="282"/>
                  </a:lnTo>
                  <a:lnTo>
                    <a:pt x="33" y="0"/>
                  </a:lnTo>
                  <a:lnTo>
                    <a:pt x="0" y="0"/>
                  </a:lnTo>
                  <a:lnTo>
                    <a:pt x="0" y="282"/>
                  </a:lnTo>
                  <a:lnTo>
                    <a:pt x="0" y="406"/>
                  </a:lnTo>
                  <a:lnTo>
                    <a:pt x="203" y="406"/>
                  </a:lnTo>
                  <a:lnTo>
                    <a:pt x="203" y="389"/>
                  </a:lnTo>
                  <a:cubicBezTo>
                    <a:pt x="203" y="347"/>
                    <a:pt x="189" y="317"/>
                    <a:pt x="174" y="297"/>
                  </a:cubicBezTo>
                  <a:cubicBezTo>
                    <a:pt x="159" y="277"/>
                    <a:pt x="144" y="269"/>
                    <a:pt x="143" y="268"/>
                  </a:cubicBezTo>
                  <a:lnTo>
                    <a:pt x="126" y="29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218">
              <a:extLst>
                <a:ext uri="{FF2B5EF4-FFF2-40B4-BE49-F238E27FC236}">
                  <a16:creationId xmlns:a16="http://schemas.microsoft.com/office/drawing/2014/main" id="{F629A98A-B6DF-498C-8105-830625C8A838}"/>
                </a:ext>
              </a:extLst>
            </p:cNvPr>
            <p:cNvSpPr>
              <a:spLocks/>
            </p:cNvSpPr>
            <p:nvPr/>
          </p:nvSpPr>
          <p:spPr bwMode="auto">
            <a:xfrm>
              <a:off x="4395788" y="6696076"/>
              <a:ext cx="41275" cy="28575"/>
            </a:xfrm>
            <a:custGeom>
              <a:avLst/>
              <a:gdLst>
                <a:gd name="T0" fmla="*/ 60 w 203"/>
                <a:gd name="T1" fmla="*/ 0 h 138"/>
                <a:gd name="T2" fmla="*/ 29 w 203"/>
                <a:gd name="T3" fmla="*/ 29 h 138"/>
                <a:gd name="T4" fmla="*/ 0 w 203"/>
                <a:gd name="T5" fmla="*/ 121 h 138"/>
                <a:gd name="T6" fmla="*/ 0 w 203"/>
                <a:gd name="T7" fmla="*/ 138 h 138"/>
                <a:gd name="T8" fmla="*/ 203 w 203"/>
                <a:gd name="T9" fmla="*/ 138 h 138"/>
                <a:gd name="T10" fmla="*/ 203 w 203"/>
                <a:gd name="T11" fmla="*/ 14 h 138"/>
                <a:gd name="T12" fmla="*/ 170 w 203"/>
                <a:gd name="T13" fmla="*/ 14 h 138"/>
                <a:gd name="T14" fmla="*/ 170 w 203"/>
                <a:gd name="T15" fmla="*/ 105 h 138"/>
                <a:gd name="T16" fmla="*/ 16 w 203"/>
                <a:gd name="T17" fmla="*/ 105 h 138"/>
                <a:gd name="T18" fmla="*/ 16 w 203"/>
                <a:gd name="T19" fmla="*/ 121 h 138"/>
                <a:gd name="T20" fmla="*/ 33 w 203"/>
                <a:gd name="T21" fmla="*/ 121 h 138"/>
                <a:gd name="T22" fmla="*/ 56 w 203"/>
                <a:gd name="T23" fmla="*/ 49 h 138"/>
                <a:gd name="T24" fmla="*/ 71 w 203"/>
                <a:gd name="T25" fmla="*/ 33 h 138"/>
                <a:gd name="T26" fmla="*/ 76 w 203"/>
                <a:gd name="T27" fmla="*/ 29 h 138"/>
                <a:gd name="T28" fmla="*/ 77 w 203"/>
                <a:gd name="T29" fmla="*/ 28 h 138"/>
                <a:gd name="T30" fmla="*/ 78 w 203"/>
                <a:gd name="T31" fmla="*/ 28 h 138"/>
                <a:gd name="T32" fmla="*/ 74 w 203"/>
                <a:gd name="T33" fmla="*/ 23 h 138"/>
                <a:gd name="T34" fmla="*/ 78 w 203"/>
                <a:gd name="T35" fmla="*/ 28 h 138"/>
                <a:gd name="T36" fmla="*/ 78 w 203"/>
                <a:gd name="T37" fmla="*/ 28 h 138"/>
                <a:gd name="T38" fmla="*/ 74 w 203"/>
                <a:gd name="T39" fmla="*/ 23 h 138"/>
                <a:gd name="T40" fmla="*/ 78 w 203"/>
                <a:gd name="T41" fmla="*/ 28 h 138"/>
                <a:gd name="T42" fmla="*/ 60 w 203"/>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38">
                  <a:moveTo>
                    <a:pt x="60" y="0"/>
                  </a:moveTo>
                  <a:cubicBezTo>
                    <a:pt x="59" y="1"/>
                    <a:pt x="44" y="9"/>
                    <a:pt x="29" y="29"/>
                  </a:cubicBezTo>
                  <a:cubicBezTo>
                    <a:pt x="15" y="49"/>
                    <a:pt x="0" y="79"/>
                    <a:pt x="0" y="121"/>
                  </a:cubicBezTo>
                  <a:lnTo>
                    <a:pt x="0" y="138"/>
                  </a:lnTo>
                  <a:lnTo>
                    <a:pt x="203" y="138"/>
                  </a:lnTo>
                  <a:lnTo>
                    <a:pt x="203" y="14"/>
                  </a:lnTo>
                  <a:lnTo>
                    <a:pt x="170" y="14"/>
                  </a:lnTo>
                  <a:lnTo>
                    <a:pt x="170" y="105"/>
                  </a:lnTo>
                  <a:lnTo>
                    <a:pt x="16" y="105"/>
                  </a:lnTo>
                  <a:lnTo>
                    <a:pt x="16" y="121"/>
                  </a:lnTo>
                  <a:lnTo>
                    <a:pt x="33" y="121"/>
                  </a:lnTo>
                  <a:cubicBezTo>
                    <a:pt x="33" y="87"/>
                    <a:pt x="45" y="64"/>
                    <a:pt x="56" y="49"/>
                  </a:cubicBezTo>
                  <a:cubicBezTo>
                    <a:pt x="62" y="42"/>
                    <a:pt x="67" y="36"/>
                    <a:pt x="71" y="33"/>
                  </a:cubicBezTo>
                  <a:cubicBezTo>
                    <a:pt x="74" y="31"/>
                    <a:pt x="75" y="30"/>
                    <a:pt x="76" y="29"/>
                  </a:cubicBezTo>
                  <a:lnTo>
                    <a:pt x="77" y="28"/>
                  </a:lnTo>
                  <a:lnTo>
                    <a:pt x="78" y="28"/>
                  </a:lnTo>
                  <a:lnTo>
                    <a:pt x="74" y="23"/>
                  </a:lnTo>
                  <a:lnTo>
                    <a:pt x="78" y="28"/>
                  </a:lnTo>
                  <a:lnTo>
                    <a:pt x="78" y="28"/>
                  </a:lnTo>
                  <a:lnTo>
                    <a:pt x="74" y="23"/>
                  </a:lnTo>
                  <a:lnTo>
                    <a:pt x="78" y="28"/>
                  </a:lnTo>
                  <a:lnTo>
                    <a:pt x="6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219">
              <a:extLst>
                <a:ext uri="{FF2B5EF4-FFF2-40B4-BE49-F238E27FC236}">
                  <a16:creationId xmlns:a16="http://schemas.microsoft.com/office/drawing/2014/main" id="{F3AFD7C3-F83D-4966-9AE9-EF266BE4C52D}"/>
                </a:ext>
              </a:extLst>
            </p:cNvPr>
            <p:cNvSpPr>
              <a:spLocks/>
            </p:cNvSpPr>
            <p:nvPr/>
          </p:nvSpPr>
          <p:spPr bwMode="auto">
            <a:xfrm>
              <a:off x="4346576" y="6550026"/>
              <a:ext cx="30163" cy="19050"/>
            </a:xfrm>
            <a:custGeom>
              <a:avLst/>
              <a:gdLst>
                <a:gd name="T0" fmla="*/ 76 w 152"/>
                <a:gd name="T1" fmla="*/ 17 h 93"/>
                <a:gd name="T2" fmla="*/ 76 w 152"/>
                <a:gd name="T3" fmla="*/ 0 h 93"/>
                <a:gd name="T4" fmla="*/ 0 w 152"/>
                <a:gd name="T5" fmla="*/ 77 h 93"/>
                <a:gd name="T6" fmla="*/ 0 w 152"/>
                <a:gd name="T7" fmla="*/ 93 h 93"/>
                <a:gd name="T8" fmla="*/ 152 w 152"/>
                <a:gd name="T9" fmla="*/ 93 h 93"/>
                <a:gd name="T10" fmla="*/ 152 w 152"/>
                <a:gd name="T11" fmla="*/ 77 h 93"/>
                <a:gd name="T12" fmla="*/ 76 w 152"/>
                <a:gd name="T13" fmla="*/ 0 h 93"/>
                <a:gd name="T14" fmla="*/ 76 w 152"/>
                <a:gd name="T15" fmla="*/ 17 h 93"/>
                <a:gd name="T16" fmla="*/ 76 w 152"/>
                <a:gd name="T17" fmla="*/ 34 h 93"/>
                <a:gd name="T18" fmla="*/ 119 w 152"/>
                <a:gd name="T19" fmla="*/ 77 h 93"/>
                <a:gd name="T20" fmla="*/ 136 w 152"/>
                <a:gd name="T21" fmla="*/ 77 h 93"/>
                <a:gd name="T22" fmla="*/ 136 w 152"/>
                <a:gd name="T23" fmla="*/ 60 h 93"/>
                <a:gd name="T24" fmla="*/ 16 w 152"/>
                <a:gd name="T25" fmla="*/ 60 h 93"/>
                <a:gd name="T26" fmla="*/ 16 w 152"/>
                <a:gd name="T27" fmla="*/ 77 h 93"/>
                <a:gd name="T28" fmla="*/ 33 w 152"/>
                <a:gd name="T29" fmla="*/ 77 h 93"/>
                <a:gd name="T30" fmla="*/ 76 w 152"/>
                <a:gd name="T31" fmla="*/ 34 h 93"/>
                <a:gd name="T32" fmla="*/ 76 w 152"/>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93">
                  <a:moveTo>
                    <a:pt x="76" y="17"/>
                  </a:moveTo>
                  <a:lnTo>
                    <a:pt x="76" y="0"/>
                  </a:lnTo>
                  <a:cubicBezTo>
                    <a:pt x="34" y="0"/>
                    <a:pt x="0" y="35"/>
                    <a:pt x="0" y="77"/>
                  </a:cubicBezTo>
                  <a:lnTo>
                    <a:pt x="0" y="93"/>
                  </a:lnTo>
                  <a:lnTo>
                    <a:pt x="152" y="93"/>
                  </a:lnTo>
                  <a:lnTo>
                    <a:pt x="152" y="77"/>
                  </a:lnTo>
                  <a:cubicBezTo>
                    <a:pt x="152" y="35"/>
                    <a:pt x="118" y="0"/>
                    <a:pt x="76" y="0"/>
                  </a:cubicBezTo>
                  <a:lnTo>
                    <a:pt x="76" y="17"/>
                  </a:lnTo>
                  <a:lnTo>
                    <a:pt x="76" y="34"/>
                  </a:lnTo>
                  <a:cubicBezTo>
                    <a:pt x="100" y="34"/>
                    <a:pt x="119" y="53"/>
                    <a:pt x="119" y="77"/>
                  </a:cubicBezTo>
                  <a:lnTo>
                    <a:pt x="136" y="77"/>
                  </a:lnTo>
                  <a:lnTo>
                    <a:pt x="136" y="60"/>
                  </a:lnTo>
                  <a:lnTo>
                    <a:pt x="16" y="60"/>
                  </a:lnTo>
                  <a:lnTo>
                    <a:pt x="16" y="77"/>
                  </a:lnTo>
                  <a:lnTo>
                    <a:pt x="33" y="77"/>
                  </a:lnTo>
                  <a:cubicBezTo>
                    <a:pt x="33" y="53"/>
                    <a:pt x="52" y="34"/>
                    <a:pt x="76" y="34"/>
                  </a:cubicBezTo>
                  <a:lnTo>
                    <a:pt x="76"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220">
              <a:extLst>
                <a:ext uri="{FF2B5EF4-FFF2-40B4-BE49-F238E27FC236}">
                  <a16:creationId xmlns:a16="http://schemas.microsoft.com/office/drawing/2014/main" id="{60F6F0C1-4D46-4EF4-9D69-11981A9BF913}"/>
                </a:ext>
              </a:extLst>
            </p:cNvPr>
            <p:cNvSpPr>
              <a:spLocks/>
            </p:cNvSpPr>
            <p:nvPr/>
          </p:nvSpPr>
          <p:spPr bwMode="auto">
            <a:xfrm>
              <a:off x="4441826" y="6538913"/>
              <a:ext cx="30163" cy="20638"/>
            </a:xfrm>
            <a:custGeom>
              <a:avLst/>
              <a:gdLst>
                <a:gd name="T0" fmla="*/ 76 w 153"/>
                <a:gd name="T1" fmla="*/ 17 h 93"/>
                <a:gd name="T2" fmla="*/ 76 w 153"/>
                <a:gd name="T3" fmla="*/ 0 h 93"/>
                <a:gd name="T4" fmla="*/ 0 w 153"/>
                <a:gd name="T5" fmla="*/ 77 h 93"/>
                <a:gd name="T6" fmla="*/ 0 w 153"/>
                <a:gd name="T7" fmla="*/ 93 h 93"/>
                <a:gd name="T8" fmla="*/ 153 w 153"/>
                <a:gd name="T9" fmla="*/ 93 h 93"/>
                <a:gd name="T10" fmla="*/ 153 w 153"/>
                <a:gd name="T11" fmla="*/ 77 h 93"/>
                <a:gd name="T12" fmla="*/ 76 w 153"/>
                <a:gd name="T13" fmla="*/ 0 h 93"/>
                <a:gd name="T14" fmla="*/ 76 w 153"/>
                <a:gd name="T15" fmla="*/ 17 h 93"/>
                <a:gd name="T16" fmla="*/ 76 w 153"/>
                <a:gd name="T17" fmla="*/ 34 h 93"/>
                <a:gd name="T18" fmla="*/ 119 w 153"/>
                <a:gd name="T19" fmla="*/ 77 h 93"/>
                <a:gd name="T20" fmla="*/ 136 w 153"/>
                <a:gd name="T21" fmla="*/ 77 h 93"/>
                <a:gd name="T22" fmla="*/ 136 w 153"/>
                <a:gd name="T23" fmla="*/ 60 h 93"/>
                <a:gd name="T24" fmla="*/ 17 w 153"/>
                <a:gd name="T25" fmla="*/ 60 h 93"/>
                <a:gd name="T26" fmla="*/ 17 w 153"/>
                <a:gd name="T27" fmla="*/ 77 h 93"/>
                <a:gd name="T28" fmla="*/ 33 w 153"/>
                <a:gd name="T29" fmla="*/ 77 h 93"/>
                <a:gd name="T30" fmla="*/ 76 w 153"/>
                <a:gd name="T31" fmla="*/ 34 h 93"/>
                <a:gd name="T32" fmla="*/ 76 w 153"/>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93">
                  <a:moveTo>
                    <a:pt x="76" y="17"/>
                  </a:moveTo>
                  <a:lnTo>
                    <a:pt x="76" y="0"/>
                  </a:lnTo>
                  <a:cubicBezTo>
                    <a:pt x="34" y="0"/>
                    <a:pt x="0" y="35"/>
                    <a:pt x="0" y="77"/>
                  </a:cubicBezTo>
                  <a:lnTo>
                    <a:pt x="0" y="93"/>
                  </a:lnTo>
                  <a:lnTo>
                    <a:pt x="153" y="93"/>
                  </a:lnTo>
                  <a:lnTo>
                    <a:pt x="153" y="77"/>
                  </a:lnTo>
                  <a:cubicBezTo>
                    <a:pt x="153" y="35"/>
                    <a:pt x="119" y="0"/>
                    <a:pt x="76" y="0"/>
                  </a:cubicBezTo>
                  <a:lnTo>
                    <a:pt x="76" y="17"/>
                  </a:lnTo>
                  <a:lnTo>
                    <a:pt x="76" y="34"/>
                  </a:lnTo>
                  <a:cubicBezTo>
                    <a:pt x="100" y="34"/>
                    <a:pt x="119" y="53"/>
                    <a:pt x="119" y="77"/>
                  </a:cubicBezTo>
                  <a:lnTo>
                    <a:pt x="136" y="77"/>
                  </a:lnTo>
                  <a:lnTo>
                    <a:pt x="136" y="60"/>
                  </a:lnTo>
                  <a:lnTo>
                    <a:pt x="17" y="60"/>
                  </a:lnTo>
                  <a:lnTo>
                    <a:pt x="17" y="77"/>
                  </a:lnTo>
                  <a:lnTo>
                    <a:pt x="33" y="77"/>
                  </a:lnTo>
                  <a:cubicBezTo>
                    <a:pt x="33" y="53"/>
                    <a:pt x="53" y="34"/>
                    <a:pt x="76" y="34"/>
                  </a:cubicBezTo>
                  <a:lnTo>
                    <a:pt x="76" y="1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221">
              <a:extLst>
                <a:ext uri="{FF2B5EF4-FFF2-40B4-BE49-F238E27FC236}">
                  <a16:creationId xmlns:a16="http://schemas.microsoft.com/office/drawing/2014/main" id="{E211212D-B065-4F4B-8741-AC37A2DE38B2}"/>
                </a:ext>
              </a:extLst>
            </p:cNvPr>
            <p:cNvSpPr>
              <a:spLocks/>
            </p:cNvSpPr>
            <p:nvPr/>
          </p:nvSpPr>
          <p:spPr bwMode="auto">
            <a:xfrm>
              <a:off x="4456113" y="6538913"/>
              <a:ext cx="26988" cy="12700"/>
            </a:xfrm>
            <a:custGeom>
              <a:avLst/>
              <a:gdLst>
                <a:gd name="T0" fmla="*/ 4 w 131"/>
                <a:gd name="T1" fmla="*/ 35 h 58"/>
                <a:gd name="T2" fmla="*/ 4 w 131"/>
                <a:gd name="T3" fmla="*/ 35 h 58"/>
                <a:gd name="T4" fmla="*/ 25 w 131"/>
                <a:gd name="T5" fmla="*/ 34 h 58"/>
                <a:gd name="T6" fmla="*/ 70 w 131"/>
                <a:gd name="T7" fmla="*/ 39 h 58"/>
                <a:gd name="T8" fmla="*/ 105 w 131"/>
                <a:gd name="T9" fmla="*/ 58 h 58"/>
                <a:gd name="T10" fmla="*/ 131 w 131"/>
                <a:gd name="T11" fmla="*/ 38 h 58"/>
                <a:gd name="T12" fmla="*/ 78 w 131"/>
                <a:gd name="T13" fmla="*/ 7 h 58"/>
                <a:gd name="T14" fmla="*/ 25 w 131"/>
                <a:gd name="T15" fmla="*/ 0 h 58"/>
                <a:gd name="T16" fmla="*/ 0 w 131"/>
                <a:gd name="T17" fmla="*/ 2 h 58"/>
                <a:gd name="T18" fmla="*/ 4 w 131"/>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58">
                  <a:moveTo>
                    <a:pt x="4" y="35"/>
                  </a:moveTo>
                  <a:lnTo>
                    <a:pt x="4" y="35"/>
                  </a:lnTo>
                  <a:cubicBezTo>
                    <a:pt x="6" y="35"/>
                    <a:pt x="14" y="34"/>
                    <a:pt x="25" y="34"/>
                  </a:cubicBezTo>
                  <a:cubicBezTo>
                    <a:pt x="38" y="34"/>
                    <a:pt x="55" y="35"/>
                    <a:pt x="70" y="39"/>
                  </a:cubicBezTo>
                  <a:cubicBezTo>
                    <a:pt x="85" y="43"/>
                    <a:pt x="98" y="49"/>
                    <a:pt x="105" y="58"/>
                  </a:cubicBezTo>
                  <a:lnTo>
                    <a:pt x="131" y="38"/>
                  </a:lnTo>
                  <a:cubicBezTo>
                    <a:pt x="118" y="20"/>
                    <a:pt x="98" y="11"/>
                    <a:pt x="78" y="7"/>
                  </a:cubicBezTo>
                  <a:cubicBezTo>
                    <a:pt x="59" y="1"/>
                    <a:pt x="40" y="0"/>
                    <a:pt x="25" y="0"/>
                  </a:cubicBezTo>
                  <a:cubicBezTo>
                    <a:pt x="11" y="0"/>
                    <a:pt x="1" y="1"/>
                    <a:pt x="0" y="2"/>
                  </a:cubicBezTo>
                  <a:lnTo>
                    <a:pt x="4" y="3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95" name="Image 194" descr="Une image contenant texte, pièce&#10;&#10;Description générée automatiquement">
            <a:extLst>
              <a:ext uri="{FF2B5EF4-FFF2-40B4-BE49-F238E27FC236}">
                <a16:creationId xmlns:a16="http://schemas.microsoft.com/office/drawing/2014/main" id="{2F9D7713-8DCB-407C-BC85-06A459EF54E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488323" y="2543552"/>
            <a:ext cx="770676" cy="584200"/>
          </a:xfrm>
          <a:prstGeom prst="rect">
            <a:avLst/>
          </a:prstGeom>
        </p:spPr>
      </p:pic>
      <p:cxnSp>
        <p:nvCxnSpPr>
          <p:cNvPr id="197" name="Connecteur droit avec flèche 196">
            <a:extLst>
              <a:ext uri="{FF2B5EF4-FFF2-40B4-BE49-F238E27FC236}">
                <a16:creationId xmlns:a16="http://schemas.microsoft.com/office/drawing/2014/main" id="{81A0D0E7-FFEB-4E9D-8738-B924727B933D}"/>
              </a:ext>
            </a:extLst>
          </p:cNvPr>
          <p:cNvCxnSpPr>
            <a:cxnSpLocks/>
          </p:cNvCxnSpPr>
          <p:nvPr/>
        </p:nvCxnSpPr>
        <p:spPr>
          <a:xfrm>
            <a:off x="1459380" y="3243922"/>
            <a:ext cx="1901998" cy="0"/>
          </a:xfrm>
          <a:prstGeom prst="straightConnector1">
            <a:avLst/>
          </a:prstGeom>
          <a:ln w="19050">
            <a:solidFill>
              <a:srgbClr val="1B9D91"/>
            </a:solidFill>
            <a:tailEnd type="triangle"/>
          </a:ln>
        </p:spPr>
        <p:style>
          <a:lnRef idx="1">
            <a:schemeClr val="accent1"/>
          </a:lnRef>
          <a:fillRef idx="0">
            <a:schemeClr val="accent1"/>
          </a:fillRef>
          <a:effectRef idx="0">
            <a:schemeClr val="accent1"/>
          </a:effectRef>
          <a:fontRef idx="minor">
            <a:schemeClr val="tx1"/>
          </a:fontRef>
        </p:style>
      </p:cxnSp>
      <p:sp>
        <p:nvSpPr>
          <p:cNvPr id="198" name="Arrow24" descr="{&quot;Key&quot;:&quot;POWER_USER_SHAPE_ICON&quot;,&quot;Value&quot;:&quot;POWER_USER_SHAPE_ICON_STYLE_1&quot;}">
            <a:extLst>
              <a:ext uri="{FF2B5EF4-FFF2-40B4-BE49-F238E27FC236}">
                <a16:creationId xmlns:a16="http://schemas.microsoft.com/office/drawing/2014/main" id="{6EAF027A-25B1-4986-835D-DF3D41EEA01A}"/>
              </a:ext>
            </a:extLst>
          </p:cNvPr>
          <p:cNvSpPr>
            <a:spLocks noChangeAspect="1"/>
          </p:cNvSpPr>
          <p:nvPr/>
        </p:nvSpPr>
        <p:spPr bwMode="auto">
          <a:xfrm rot="15666150" flipV="1">
            <a:off x="1977813" y="2660646"/>
            <a:ext cx="692538" cy="2188020"/>
          </a:xfrm>
          <a:custGeom>
            <a:avLst/>
            <a:gdLst>
              <a:gd name="T0" fmla="*/ 657 w 952"/>
              <a:gd name="T1" fmla="*/ 1166 h 1430"/>
              <a:gd name="T2" fmla="*/ 637 w 952"/>
              <a:gd name="T3" fmla="*/ 1160 h 1430"/>
              <a:gd name="T4" fmla="*/ 614 w 952"/>
              <a:gd name="T5" fmla="*/ 1151 h 1430"/>
              <a:gd name="T6" fmla="*/ 591 w 952"/>
              <a:gd name="T7" fmla="*/ 1142 h 1430"/>
              <a:gd name="T8" fmla="*/ 490 w 952"/>
              <a:gd name="T9" fmla="*/ 1095 h 1430"/>
              <a:gd name="T10" fmla="*/ 267 w 952"/>
              <a:gd name="T11" fmla="*/ 923 h 1430"/>
              <a:gd name="T12" fmla="*/ 171 w 952"/>
              <a:gd name="T13" fmla="*/ 796 h 1430"/>
              <a:gd name="T14" fmla="*/ 106 w 952"/>
              <a:gd name="T15" fmla="*/ 645 h 1430"/>
              <a:gd name="T16" fmla="*/ 90 w 952"/>
              <a:gd name="T17" fmla="*/ 564 h 1430"/>
              <a:gd name="T18" fmla="*/ 89 w 952"/>
              <a:gd name="T19" fmla="*/ 482 h 1430"/>
              <a:gd name="T20" fmla="*/ 100 w 952"/>
              <a:gd name="T21" fmla="*/ 402 h 1430"/>
              <a:gd name="T22" fmla="*/ 111 w 952"/>
              <a:gd name="T23" fmla="*/ 364 h 1430"/>
              <a:gd name="T24" fmla="*/ 113 w 952"/>
              <a:gd name="T25" fmla="*/ 359 h 1430"/>
              <a:gd name="T26" fmla="*/ 113 w 952"/>
              <a:gd name="T27" fmla="*/ 358 h 1430"/>
              <a:gd name="T28" fmla="*/ 113 w 952"/>
              <a:gd name="T29" fmla="*/ 359 h 1430"/>
              <a:gd name="T30" fmla="*/ 113 w 952"/>
              <a:gd name="T31" fmla="*/ 358 h 1430"/>
              <a:gd name="T32" fmla="*/ 114 w 952"/>
              <a:gd name="T33" fmla="*/ 355 h 1430"/>
              <a:gd name="T34" fmla="*/ 118 w 952"/>
              <a:gd name="T35" fmla="*/ 345 h 1430"/>
              <a:gd name="T36" fmla="*/ 126 w 952"/>
              <a:gd name="T37" fmla="*/ 326 h 1430"/>
              <a:gd name="T38" fmla="*/ 143 w 952"/>
              <a:gd name="T39" fmla="*/ 291 h 1430"/>
              <a:gd name="T40" fmla="*/ 162 w 952"/>
              <a:gd name="T41" fmla="*/ 258 h 1430"/>
              <a:gd name="T42" fmla="*/ 184 w 952"/>
              <a:gd name="T43" fmla="*/ 227 h 1430"/>
              <a:gd name="T44" fmla="*/ 208 w 952"/>
              <a:gd name="T45" fmla="*/ 198 h 1430"/>
              <a:gd name="T46" fmla="*/ 314 w 952"/>
              <a:gd name="T47" fmla="*/ 107 h 1430"/>
              <a:gd name="T48" fmla="*/ 420 w 952"/>
              <a:gd name="T49" fmla="*/ 50 h 1430"/>
              <a:gd name="T50" fmla="*/ 467 w 952"/>
              <a:gd name="T51" fmla="*/ 31 h 1430"/>
              <a:gd name="T52" fmla="*/ 509 w 952"/>
              <a:gd name="T53" fmla="*/ 18 h 1430"/>
              <a:gd name="T54" fmla="*/ 542 w 952"/>
              <a:gd name="T55" fmla="*/ 9 h 1430"/>
              <a:gd name="T56" fmla="*/ 568 w 952"/>
              <a:gd name="T57" fmla="*/ 4 h 1430"/>
              <a:gd name="T58" fmla="*/ 589 w 952"/>
              <a:gd name="T59" fmla="*/ 0 h 1430"/>
              <a:gd name="T60" fmla="*/ 567 w 952"/>
              <a:gd name="T61" fmla="*/ 2 h 1430"/>
              <a:gd name="T62" fmla="*/ 541 w 952"/>
              <a:gd name="T63" fmla="*/ 5 h 1430"/>
              <a:gd name="T64" fmla="*/ 507 w 952"/>
              <a:gd name="T65" fmla="*/ 10 h 1430"/>
              <a:gd name="T66" fmla="*/ 464 w 952"/>
              <a:gd name="T67" fmla="*/ 19 h 1430"/>
              <a:gd name="T68" fmla="*/ 414 w 952"/>
              <a:gd name="T69" fmla="*/ 32 h 1430"/>
              <a:gd name="T70" fmla="*/ 298 w 952"/>
              <a:gd name="T71" fmla="*/ 80 h 1430"/>
              <a:gd name="T72" fmla="*/ 175 w 952"/>
              <a:gd name="T73" fmla="*/ 165 h 1430"/>
              <a:gd name="T74" fmla="*/ 69 w 952"/>
              <a:gd name="T75" fmla="*/ 299 h 1430"/>
              <a:gd name="T76" fmla="*/ 59 w 952"/>
              <a:gd name="T77" fmla="*/ 318 h 1430"/>
              <a:gd name="T78" fmla="*/ 54 w 952"/>
              <a:gd name="T79" fmla="*/ 327 h 1430"/>
              <a:gd name="T80" fmla="*/ 53 w 952"/>
              <a:gd name="T81" fmla="*/ 330 h 1430"/>
              <a:gd name="T82" fmla="*/ 52 w 952"/>
              <a:gd name="T83" fmla="*/ 331 h 1430"/>
              <a:gd name="T84" fmla="*/ 51 w 952"/>
              <a:gd name="T85" fmla="*/ 333 h 1430"/>
              <a:gd name="T86" fmla="*/ 49 w 952"/>
              <a:gd name="T87" fmla="*/ 339 h 1430"/>
              <a:gd name="T88" fmla="*/ 31 w 952"/>
              <a:gd name="T89" fmla="*/ 382 h 1430"/>
              <a:gd name="T90" fmla="*/ 8 w 952"/>
              <a:gd name="T91" fmla="*/ 473 h 1430"/>
              <a:gd name="T92" fmla="*/ 0 w 952"/>
              <a:gd name="T93" fmla="*/ 569 h 1430"/>
              <a:gd name="T94" fmla="*/ 8 w 952"/>
              <a:gd name="T95" fmla="*/ 666 h 1430"/>
              <a:gd name="T96" fmla="*/ 65 w 952"/>
              <a:gd name="T97" fmla="*/ 850 h 1430"/>
              <a:gd name="T98" fmla="*/ 161 w 952"/>
              <a:gd name="T99" fmla="*/ 1010 h 1430"/>
              <a:gd name="T100" fmla="*/ 401 w 952"/>
              <a:gd name="T101" fmla="*/ 1238 h 1430"/>
              <a:gd name="T102" fmla="*/ 516 w 952"/>
              <a:gd name="T103" fmla="*/ 1308 h 1430"/>
              <a:gd name="T104" fmla="*/ 541 w 952"/>
              <a:gd name="T105" fmla="*/ 1320 h 1430"/>
              <a:gd name="T106" fmla="*/ 563 w 952"/>
              <a:gd name="T107" fmla="*/ 1332 h 1430"/>
              <a:gd name="T108" fmla="*/ 605 w 952"/>
              <a:gd name="T109" fmla="*/ 1350 h 1430"/>
              <a:gd name="T110" fmla="*/ 582 w 952"/>
              <a:gd name="T111" fmla="*/ 1430 h 1430"/>
              <a:gd name="T112" fmla="*/ 952 w 952"/>
              <a:gd name="T113" fmla="*/ 1337 h 1430"/>
              <a:gd name="T114" fmla="*/ 687 w 952"/>
              <a:gd name="T115" fmla="*/ 1063 h 1430"/>
              <a:gd name="T116" fmla="*/ 657 w 952"/>
              <a:gd name="T117" fmla="*/ 116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52" h="1430">
                <a:moveTo>
                  <a:pt x="657" y="1166"/>
                </a:moveTo>
                <a:cubicBezTo>
                  <a:pt x="651" y="1164"/>
                  <a:pt x="644" y="1162"/>
                  <a:pt x="637" y="1160"/>
                </a:cubicBezTo>
                <a:cubicBezTo>
                  <a:pt x="630" y="1157"/>
                  <a:pt x="622" y="1154"/>
                  <a:pt x="614" y="1151"/>
                </a:cubicBezTo>
                <a:cubicBezTo>
                  <a:pt x="606" y="1148"/>
                  <a:pt x="598" y="1145"/>
                  <a:pt x="591" y="1142"/>
                </a:cubicBezTo>
                <a:cubicBezTo>
                  <a:pt x="562" y="1131"/>
                  <a:pt x="526" y="1114"/>
                  <a:pt x="490" y="1095"/>
                </a:cubicBezTo>
                <a:cubicBezTo>
                  <a:pt x="417" y="1056"/>
                  <a:pt x="337" y="999"/>
                  <a:pt x="267" y="923"/>
                </a:cubicBezTo>
                <a:cubicBezTo>
                  <a:pt x="231" y="885"/>
                  <a:pt x="199" y="842"/>
                  <a:pt x="171" y="796"/>
                </a:cubicBezTo>
                <a:cubicBezTo>
                  <a:pt x="143" y="749"/>
                  <a:pt x="120" y="698"/>
                  <a:pt x="106" y="645"/>
                </a:cubicBezTo>
                <a:cubicBezTo>
                  <a:pt x="99" y="618"/>
                  <a:pt x="94" y="591"/>
                  <a:pt x="90" y="564"/>
                </a:cubicBezTo>
                <a:cubicBezTo>
                  <a:pt x="88" y="537"/>
                  <a:pt x="87" y="509"/>
                  <a:pt x="89" y="482"/>
                </a:cubicBezTo>
                <a:cubicBezTo>
                  <a:pt x="90" y="455"/>
                  <a:pt x="94" y="428"/>
                  <a:pt x="100" y="402"/>
                </a:cubicBezTo>
                <a:cubicBezTo>
                  <a:pt x="103" y="389"/>
                  <a:pt x="107" y="376"/>
                  <a:pt x="111" y="364"/>
                </a:cubicBezTo>
                <a:lnTo>
                  <a:pt x="113" y="359"/>
                </a:lnTo>
                <a:lnTo>
                  <a:pt x="113" y="358"/>
                </a:lnTo>
                <a:cubicBezTo>
                  <a:pt x="113" y="358"/>
                  <a:pt x="112" y="360"/>
                  <a:pt x="113" y="359"/>
                </a:cubicBezTo>
                <a:lnTo>
                  <a:pt x="113" y="358"/>
                </a:lnTo>
                <a:lnTo>
                  <a:pt x="114" y="355"/>
                </a:lnTo>
                <a:lnTo>
                  <a:pt x="118" y="345"/>
                </a:lnTo>
                <a:lnTo>
                  <a:pt x="126" y="326"/>
                </a:lnTo>
                <a:cubicBezTo>
                  <a:pt x="131" y="314"/>
                  <a:pt x="137" y="303"/>
                  <a:pt x="143" y="291"/>
                </a:cubicBezTo>
                <a:cubicBezTo>
                  <a:pt x="149" y="280"/>
                  <a:pt x="156" y="269"/>
                  <a:pt x="162" y="258"/>
                </a:cubicBezTo>
                <a:cubicBezTo>
                  <a:pt x="170" y="247"/>
                  <a:pt x="177" y="237"/>
                  <a:pt x="184" y="227"/>
                </a:cubicBezTo>
                <a:cubicBezTo>
                  <a:pt x="192" y="217"/>
                  <a:pt x="200" y="207"/>
                  <a:pt x="208" y="198"/>
                </a:cubicBezTo>
                <a:cubicBezTo>
                  <a:pt x="241" y="161"/>
                  <a:pt x="277" y="131"/>
                  <a:pt x="314" y="107"/>
                </a:cubicBezTo>
                <a:cubicBezTo>
                  <a:pt x="351" y="83"/>
                  <a:pt x="387" y="64"/>
                  <a:pt x="420" y="50"/>
                </a:cubicBezTo>
                <a:cubicBezTo>
                  <a:pt x="437" y="43"/>
                  <a:pt x="453" y="37"/>
                  <a:pt x="467" y="31"/>
                </a:cubicBezTo>
                <a:cubicBezTo>
                  <a:pt x="482" y="27"/>
                  <a:pt x="496" y="22"/>
                  <a:pt x="509" y="18"/>
                </a:cubicBezTo>
                <a:cubicBezTo>
                  <a:pt x="521" y="15"/>
                  <a:pt x="532" y="12"/>
                  <a:pt x="542" y="9"/>
                </a:cubicBezTo>
                <a:cubicBezTo>
                  <a:pt x="552" y="7"/>
                  <a:pt x="561" y="6"/>
                  <a:pt x="568" y="4"/>
                </a:cubicBezTo>
                <a:cubicBezTo>
                  <a:pt x="581" y="1"/>
                  <a:pt x="589" y="0"/>
                  <a:pt x="589" y="0"/>
                </a:cubicBezTo>
                <a:cubicBezTo>
                  <a:pt x="589" y="0"/>
                  <a:pt x="581" y="0"/>
                  <a:pt x="567" y="2"/>
                </a:cubicBezTo>
                <a:cubicBezTo>
                  <a:pt x="560" y="3"/>
                  <a:pt x="552" y="3"/>
                  <a:pt x="541" y="5"/>
                </a:cubicBezTo>
                <a:cubicBezTo>
                  <a:pt x="531" y="6"/>
                  <a:pt x="520" y="8"/>
                  <a:pt x="507" y="10"/>
                </a:cubicBezTo>
                <a:cubicBezTo>
                  <a:pt x="494" y="12"/>
                  <a:pt x="479" y="15"/>
                  <a:pt x="464" y="19"/>
                </a:cubicBezTo>
                <a:cubicBezTo>
                  <a:pt x="448" y="23"/>
                  <a:pt x="431" y="27"/>
                  <a:pt x="414" y="32"/>
                </a:cubicBezTo>
                <a:cubicBezTo>
                  <a:pt x="378" y="43"/>
                  <a:pt x="339" y="59"/>
                  <a:pt x="298" y="80"/>
                </a:cubicBezTo>
                <a:cubicBezTo>
                  <a:pt x="257" y="101"/>
                  <a:pt x="215" y="129"/>
                  <a:pt x="175" y="165"/>
                </a:cubicBezTo>
                <a:cubicBezTo>
                  <a:pt x="135" y="202"/>
                  <a:pt x="99" y="245"/>
                  <a:pt x="69" y="299"/>
                </a:cubicBezTo>
                <a:lnTo>
                  <a:pt x="59" y="318"/>
                </a:lnTo>
                <a:lnTo>
                  <a:pt x="54" y="327"/>
                </a:lnTo>
                <a:lnTo>
                  <a:pt x="53" y="330"/>
                </a:lnTo>
                <a:lnTo>
                  <a:pt x="52" y="331"/>
                </a:lnTo>
                <a:lnTo>
                  <a:pt x="51" y="333"/>
                </a:lnTo>
                <a:lnTo>
                  <a:pt x="49" y="339"/>
                </a:lnTo>
                <a:cubicBezTo>
                  <a:pt x="42" y="353"/>
                  <a:pt x="36" y="367"/>
                  <a:pt x="31" y="382"/>
                </a:cubicBezTo>
                <a:cubicBezTo>
                  <a:pt x="21" y="411"/>
                  <a:pt x="13" y="441"/>
                  <a:pt x="8" y="473"/>
                </a:cubicBezTo>
                <a:cubicBezTo>
                  <a:pt x="2" y="504"/>
                  <a:pt x="0" y="537"/>
                  <a:pt x="0" y="569"/>
                </a:cubicBezTo>
                <a:cubicBezTo>
                  <a:pt x="1" y="601"/>
                  <a:pt x="3" y="634"/>
                  <a:pt x="8" y="666"/>
                </a:cubicBezTo>
                <a:cubicBezTo>
                  <a:pt x="19" y="730"/>
                  <a:pt x="39" y="792"/>
                  <a:pt x="65" y="850"/>
                </a:cubicBezTo>
                <a:cubicBezTo>
                  <a:pt x="92" y="908"/>
                  <a:pt x="125" y="962"/>
                  <a:pt x="161" y="1010"/>
                </a:cubicBezTo>
                <a:cubicBezTo>
                  <a:pt x="234" y="1108"/>
                  <a:pt x="321" y="1183"/>
                  <a:pt x="401" y="1238"/>
                </a:cubicBezTo>
                <a:cubicBezTo>
                  <a:pt x="442" y="1266"/>
                  <a:pt x="478" y="1288"/>
                  <a:pt x="516" y="1308"/>
                </a:cubicBezTo>
                <a:cubicBezTo>
                  <a:pt x="525" y="1313"/>
                  <a:pt x="533" y="1317"/>
                  <a:pt x="541" y="1320"/>
                </a:cubicBezTo>
                <a:cubicBezTo>
                  <a:pt x="548" y="1324"/>
                  <a:pt x="556" y="1328"/>
                  <a:pt x="563" y="1332"/>
                </a:cubicBezTo>
                <a:cubicBezTo>
                  <a:pt x="578" y="1338"/>
                  <a:pt x="592" y="1344"/>
                  <a:pt x="605" y="1350"/>
                </a:cubicBezTo>
                <a:lnTo>
                  <a:pt x="582" y="1430"/>
                </a:lnTo>
                <a:lnTo>
                  <a:pt x="952" y="1337"/>
                </a:lnTo>
                <a:lnTo>
                  <a:pt x="687" y="1063"/>
                </a:lnTo>
                <a:lnTo>
                  <a:pt x="657" y="1166"/>
                </a:lnTo>
              </a:path>
            </a:pathLst>
          </a:custGeom>
          <a:noFill/>
          <a:ln w="19050">
            <a:solidFill>
              <a:srgbClr val="92D05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ZoneTexte 200">
            <a:extLst>
              <a:ext uri="{FF2B5EF4-FFF2-40B4-BE49-F238E27FC236}">
                <a16:creationId xmlns:a16="http://schemas.microsoft.com/office/drawing/2014/main" id="{EABC7503-0B61-4EA5-BAE1-7BB2BF41731E}"/>
              </a:ext>
            </a:extLst>
          </p:cNvPr>
          <p:cNvSpPr txBox="1"/>
          <p:nvPr/>
        </p:nvSpPr>
        <p:spPr>
          <a:xfrm>
            <a:off x="577282" y="1188044"/>
            <a:ext cx="3732168" cy="523220"/>
          </a:xfrm>
          <a:prstGeom prst="rect">
            <a:avLst/>
          </a:prstGeom>
          <a:noFill/>
        </p:spPr>
        <p:txBody>
          <a:bodyPr wrap="square" rtlCol="0">
            <a:spAutoFit/>
          </a:bodyPr>
          <a:lstStyle/>
          <a:p>
            <a:pPr algn="ctr"/>
            <a:r>
              <a:rPr lang="fr-FR" sz="1400" b="1" dirty="0">
                <a:solidFill>
                  <a:schemeClr val="tx2"/>
                </a:solidFill>
              </a:rPr>
              <a:t>Demi-produit au prix du marché </a:t>
            </a:r>
            <a:r>
              <a:rPr lang="fr-FR" sz="1400" dirty="0">
                <a:solidFill>
                  <a:schemeClr val="tx2"/>
                </a:solidFill>
              </a:rPr>
              <a:t>avec une </a:t>
            </a:r>
            <a:r>
              <a:rPr lang="fr-FR" sz="1400" b="1" dirty="0">
                <a:solidFill>
                  <a:schemeClr val="tx2"/>
                </a:solidFill>
              </a:rPr>
              <a:t>reprise des chutes à un prix moyen </a:t>
            </a:r>
          </a:p>
        </p:txBody>
      </p:sp>
      <p:sp>
        <p:nvSpPr>
          <p:cNvPr id="202" name="ZoneTexte 201">
            <a:extLst>
              <a:ext uri="{FF2B5EF4-FFF2-40B4-BE49-F238E27FC236}">
                <a16:creationId xmlns:a16="http://schemas.microsoft.com/office/drawing/2014/main" id="{3899568A-4058-4D74-B20E-51D05C84F10C}"/>
              </a:ext>
            </a:extLst>
          </p:cNvPr>
          <p:cNvSpPr txBox="1"/>
          <p:nvPr/>
        </p:nvSpPr>
        <p:spPr>
          <a:xfrm>
            <a:off x="577282" y="5614463"/>
            <a:ext cx="3732168" cy="461665"/>
          </a:xfrm>
          <a:prstGeom prst="rect">
            <a:avLst/>
          </a:prstGeom>
          <a:noFill/>
        </p:spPr>
        <p:txBody>
          <a:bodyPr wrap="square" rtlCol="0">
            <a:spAutoFit/>
          </a:bodyPr>
          <a:lstStyle/>
          <a:p>
            <a:pPr algn="ctr">
              <a:buClr>
                <a:srgbClr val="1B9D91"/>
              </a:buClr>
              <a:buSzPct val="125000"/>
            </a:pPr>
            <a:r>
              <a:rPr lang="fr-FR" sz="1200" b="1" dirty="0">
                <a:solidFill>
                  <a:schemeClr val="tx2"/>
                </a:solidFill>
              </a:rPr>
              <a:t>Prix de reprise des chutes stable et garanti sur la durée du contrat</a:t>
            </a:r>
          </a:p>
        </p:txBody>
      </p:sp>
      <p:sp>
        <p:nvSpPr>
          <p:cNvPr id="203" name="Est égal à 202">
            <a:extLst>
              <a:ext uri="{FF2B5EF4-FFF2-40B4-BE49-F238E27FC236}">
                <a16:creationId xmlns:a16="http://schemas.microsoft.com/office/drawing/2014/main" id="{4BEEEF38-4809-4F17-9E33-7833C941A2EA}"/>
              </a:ext>
            </a:extLst>
          </p:cNvPr>
          <p:cNvSpPr/>
          <p:nvPr/>
        </p:nvSpPr>
        <p:spPr>
          <a:xfrm>
            <a:off x="2182004" y="2680356"/>
            <a:ext cx="284455" cy="310592"/>
          </a:xfrm>
          <a:prstGeom prst="mathEqual">
            <a:avLst/>
          </a:prstGeom>
          <a:solidFill>
            <a:srgbClr val="1B9D9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5" name="ZoneTexte 214">
            <a:extLst>
              <a:ext uri="{FF2B5EF4-FFF2-40B4-BE49-F238E27FC236}">
                <a16:creationId xmlns:a16="http://schemas.microsoft.com/office/drawing/2014/main" id="{3ACB9BB0-CDB0-4883-B05F-CC8D953352CC}"/>
              </a:ext>
            </a:extLst>
          </p:cNvPr>
          <p:cNvSpPr txBox="1"/>
          <p:nvPr/>
        </p:nvSpPr>
        <p:spPr>
          <a:xfrm>
            <a:off x="2391764" y="2371635"/>
            <a:ext cx="837812" cy="230832"/>
          </a:xfrm>
          <a:prstGeom prst="rect">
            <a:avLst/>
          </a:prstGeom>
          <a:noFill/>
        </p:spPr>
        <p:txBody>
          <a:bodyPr wrap="square" rtlCol="0">
            <a:spAutoFit/>
          </a:bodyPr>
          <a:lstStyle/>
          <a:p>
            <a:pPr algn="ctr"/>
            <a:r>
              <a:rPr lang="fr-FR" sz="900" b="1" dirty="0" err="1">
                <a:solidFill>
                  <a:srgbClr val="1B9D91"/>
                </a:solidFill>
              </a:rPr>
              <a:t>Market</a:t>
            </a:r>
            <a:endParaRPr lang="fr-FR" sz="900" b="1" dirty="0">
              <a:solidFill>
                <a:srgbClr val="1B9D91"/>
              </a:solidFill>
            </a:endParaRPr>
          </a:p>
        </p:txBody>
      </p:sp>
      <p:sp>
        <p:nvSpPr>
          <p:cNvPr id="216" name="Est égal à 215">
            <a:extLst>
              <a:ext uri="{FF2B5EF4-FFF2-40B4-BE49-F238E27FC236}">
                <a16:creationId xmlns:a16="http://schemas.microsoft.com/office/drawing/2014/main" id="{B3C949B5-42A7-422B-8DDB-3CB2F67DF295}"/>
              </a:ext>
            </a:extLst>
          </p:cNvPr>
          <p:cNvSpPr/>
          <p:nvPr/>
        </p:nvSpPr>
        <p:spPr>
          <a:xfrm>
            <a:off x="2205961" y="4338560"/>
            <a:ext cx="308201" cy="282390"/>
          </a:xfrm>
          <a:prstGeom prst="mathEqual">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nvGrpSpPr>
          <p:cNvPr id="233" name="Line_chart5" descr="{&quot;Key&quot;:&quot;POWER_USER_SHAPE_ICON&quot;,&quot;Value&quot;:&quot;POWER_USER_SHAPE_ICON_STYLE_1&quot;}">
            <a:extLst>
              <a:ext uri="{FF2B5EF4-FFF2-40B4-BE49-F238E27FC236}">
                <a16:creationId xmlns:a16="http://schemas.microsoft.com/office/drawing/2014/main" id="{2F19A80F-0012-47BC-AF7D-23274AD9B280}"/>
              </a:ext>
            </a:extLst>
          </p:cNvPr>
          <p:cNvGrpSpPr>
            <a:grpSpLocks noChangeAspect="1"/>
          </p:cNvGrpSpPr>
          <p:nvPr>
            <p:custDataLst>
              <p:tags r:id="rId4"/>
            </p:custDataLst>
          </p:nvPr>
        </p:nvGrpSpPr>
        <p:grpSpPr>
          <a:xfrm>
            <a:off x="2605852" y="4260038"/>
            <a:ext cx="466655" cy="434356"/>
            <a:chOff x="8358188" y="1762126"/>
            <a:chExt cx="665163" cy="619125"/>
          </a:xfrm>
          <a:solidFill>
            <a:srgbClr val="92D050"/>
          </a:solidFill>
        </p:grpSpPr>
        <p:sp>
          <p:nvSpPr>
            <p:cNvPr id="234" name="Freeform 8">
              <a:extLst>
                <a:ext uri="{FF2B5EF4-FFF2-40B4-BE49-F238E27FC236}">
                  <a16:creationId xmlns:a16="http://schemas.microsoft.com/office/drawing/2014/main" id="{41C0F441-AE20-415A-ABED-B73D7F3DC360}"/>
                </a:ext>
              </a:extLst>
            </p:cNvPr>
            <p:cNvSpPr>
              <a:spLocks/>
            </p:cNvSpPr>
            <p:nvPr/>
          </p:nvSpPr>
          <p:spPr bwMode="auto">
            <a:xfrm>
              <a:off x="8358188" y="1762126"/>
              <a:ext cx="665163" cy="619125"/>
            </a:xfrm>
            <a:custGeom>
              <a:avLst/>
              <a:gdLst>
                <a:gd name="T0" fmla="*/ 419 w 419"/>
                <a:gd name="T1" fmla="*/ 390 h 390"/>
                <a:gd name="T2" fmla="*/ 0 w 419"/>
                <a:gd name="T3" fmla="*/ 390 h 390"/>
                <a:gd name="T4" fmla="*/ 0 w 419"/>
                <a:gd name="T5" fmla="*/ 0 h 390"/>
                <a:gd name="T6" fmla="*/ 30 w 419"/>
                <a:gd name="T7" fmla="*/ 0 h 390"/>
                <a:gd name="T8" fmla="*/ 30 w 419"/>
                <a:gd name="T9" fmla="*/ 359 h 390"/>
                <a:gd name="T10" fmla="*/ 419 w 419"/>
                <a:gd name="T11" fmla="*/ 359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59"/>
                  </a:lnTo>
                  <a:lnTo>
                    <a:pt x="419" y="359"/>
                  </a:lnTo>
                  <a:lnTo>
                    <a:pt x="419" y="3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94">
              <a:extLst>
                <a:ext uri="{FF2B5EF4-FFF2-40B4-BE49-F238E27FC236}">
                  <a16:creationId xmlns:a16="http://schemas.microsoft.com/office/drawing/2014/main" id="{337CF8E2-A535-4647-84A0-F10848B39F9B}"/>
                </a:ext>
              </a:extLst>
            </p:cNvPr>
            <p:cNvSpPr>
              <a:spLocks/>
            </p:cNvSpPr>
            <p:nvPr/>
          </p:nvSpPr>
          <p:spPr bwMode="auto">
            <a:xfrm>
              <a:off x="8359776" y="1857376"/>
              <a:ext cx="663575" cy="476250"/>
            </a:xfrm>
            <a:custGeom>
              <a:avLst/>
              <a:gdLst>
                <a:gd name="T0" fmla="*/ 872 w 872"/>
                <a:gd name="T1" fmla="*/ 161 h 625"/>
                <a:gd name="T2" fmla="*/ 751 w 872"/>
                <a:gd name="T3" fmla="*/ 199 h 625"/>
                <a:gd name="T4" fmla="*/ 670 w 872"/>
                <a:gd name="T5" fmla="*/ 102 h 625"/>
                <a:gd name="T6" fmla="*/ 578 w 872"/>
                <a:gd name="T7" fmla="*/ 6 h 625"/>
                <a:gd name="T8" fmla="*/ 504 w 872"/>
                <a:gd name="T9" fmla="*/ 24 h 625"/>
                <a:gd name="T10" fmla="*/ 431 w 872"/>
                <a:gd name="T11" fmla="*/ 248 h 625"/>
                <a:gd name="T12" fmla="*/ 402 w 872"/>
                <a:gd name="T13" fmla="*/ 391 h 625"/>
                <a:gd name="T14" fmla="*/ 373 w 872"/>
                <a:gd name="T15" fmla="*/ 437 h 625"/>
                <a:gd name="T16" fmla="*/ 282 w 872"/>
                <a:gd name="T17" fmla="*/ 383 h 625"/>
                <a:gd name="T18" fmla="*/ 208 w 872"/>
                <a:gd name="T19" fmla="*/ 334 h 625"/>
                <a:gd name="T20" fmla="*/ 111 w 872"/>
                <a:gd name="T21" fmla="*/ 358 h 625"/>
                <a:gd name="T22" fmla="*/ 20 w 872"/>
                <a:gd name="T23" fmla="*/ 516 h 625"/>
                <a:gd name="T24" fmla="*/ 0 w 872"/>
                <a:gd name="T25" fmla="*/ 619 h 625"/>
                <a:gd name="T26" fmla="*/ 62 w 872"/>
                <a:gd name="T27" fmla="*/ 625 h 625"/>
                <a:gd name="T28" fmla="*/ 148 w 872"/>
                <a:gd name="T29" fmla="*/ 408 h 625"/>
                <a:gd name="T30" fmla="*/ 197 w 872"/>
                <a:gd name="T31" fmla="*/ 396 h 625"/>
                <a:gd name="T32" fmla="*/ 239 w 872"/>
                <a:gd name="T33" fmla="*/ 429 h 625"/>
                <a:gd name="T34" fmla="*/ 373 w 872"/>
                <a:gd name="T35" fmla="*/ 500 h 625"/>
                <a:gd name="T36" fmla="*/ 461 w 872"/>
                <a:gd name="T37" fmla="*/ 411 h 625"/>
                <a:gd name="T38" fmla="*/ 493 w 872"/>
                <a:gd name="T39" fmla="*/ 258 h 625"/>
                <a:gd name="T40" fmla="*/ 544 w 872"/>
                <a:gd name="T41" fmla="*/ 72 h 625"/>
                <a:gd name="T42" fmla="*/ 562 w 872"/>
                <a:gd name="T43" fmla="*/ 67 h 625"/>
                <a:gd name="T44" fmla="*/ 611 w 872"/>
                <a:gd name="T45" fmla="*/ 123 h 625"/>
                <a:gd name="T46" fmla="*/ 737 w 872"/>
                <a:gd name="T47" fmla="*/ 260 h 625"/>
                <a:gd name="T48" fmla="*/ 770 w 872"/>
                <a:gd name="T49" fmla="*/ 264 h 625"/>
                <a:gd name="T50" fmla="*/ 872 w 872"/>
                <a:gd name="T51" fmla="*/ 235 h 625"/>
                <a:gd name="T52" fmla="*/ 872 w 872"/>
                <a:gd name="T53" fmla="*/ 1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2" h="625">
                  <a:moveTo>
                    <a:pt x="872" y="161"/>
                  </a:moveTo>
                  <a:cubicBezTo>
                    <a:pt x="839" y="184"/>
                    <a:pt x="791" y="209"/>
                    <a:pt x="751" y="199"/>
                  </a:cubicBezTo>
                  <a:cubicBezTo>
                    <a:pt x="717" y="191"/>
                    <a:pt x="689" y="158"/>
                    <a:pt x="670" y="102"/>
                  </a:cubicBezTo>
                  <a:cubicBezTo>
                    <a:pt x="659" y="72"/>
                    <a:pt x="625" y="19"/>
                    <a:pt x="578" y="6"/>
                  </a:cubicBezTo>
                  <a:cubicBezTo>
                    <a:pt x="560" y="1"/>
                    <a:pt x="532" y="0"/>
                    <a:pt x="504" y="24"/>
                  </a:cubicBezTo>
                  <a:cubicBezTo>
                    <a:pt x="461" y="60"/>
                    <a:pt x="447" y="147"/>
                    <a:pt x="431" y="248"/>
                  </a:cubicBezTo>
                  <a:cubicBezTo>
                    <a:pt x="423" y="300"/>
                    <a:pt x="414" y="353"/>
                    <a:pt x="402" y="391"/>
                  </a:cubicBezTo>
                  <a:cubicBezTo>
                    <a:pt x="390" y="425"/>
                    <a:pt x="379" y="437"/>
                    <a:pt x="373" y="437"/>
                  </a:cubicBezTo>
                  <a:cubicBezTo>
                    <a:pt x="341" y="437"/>
                    <a:pt x="310" y="408"/>
                    <a:pt x="282" y="383"/>
                  </a:cubicBezTo>
                  <a:cubicBezTo>
                    <a:pt x="258" y="360"/>
                    <a:pt x="235" y="339"/>
                    <a:pt x="208" y="334"/>
                  </a:cubicBezTo>
                  <a:cubicBezTo>
                    <a:pt x="173" y="328"/>
                    <a:pt x="139" y="336"/>
                    <a:pt x="111" y="358"/>
                  </a:cubicBezTo>
                  <a:cubicBezTo>
                    <a:pt x="72" y="387"/>
                    <a:pt x="41" y="440"/>
                    <a:pt x="20" y="516"/>
                  </a:cubicBezTo>
                  <a:cubicBezTo>
                    <a:pt x="5" y="571"/>
                    <a:pt x="0" y="617"/>
                    <a:pt x="0" y="619"/>
                  </a:cubicBezTo>
                  <a:lnTo>
                    <a:pt x="62" y="625"/>
                  </a:lnTo>
                  <a:cubicBezTo>
                    <a:pt x="67" y="579"/>
                    <a:pt x="92" y="450"/>
                    <a:pt x="148" y="408"/>
                  </a:cubicBezTo>
                  <a:cubicBezTo>
                    <a:pt x="163" y="396"/>
                    <a:pt x="179" y="393"/>
                    <a:pt x="197" y="396"/>
                  </a:cubicBezTo>
                  <a:cubicBezTo>
                    <a:pt x="206" y="397"/>
                    <a:pt x="225" y="415"/>
                    <a:pt x="239" y="429"/>
                  </a:cubicBezTo>
                  <a:cubicBezTo>
                    <a:pt x="274" y="460"/>
                    <a:pt x="316" y="500"/>
                    <a:pt x="373" y="500"/>
                  </a:cubicBezTo>
                  <a:cubicBezTo>
                    <a:pt x="432" y="500"/>
                    <a:pt x="454" y="433"/>
                    <a:pt x="461" y="411"/>
                  </a:cubicBezTo>
                  <a:cubicBezTo>
                    <a:pt x="475" y="368"/>
                    <a:pt x="484" y="312"/>
                    <a:pt x="493" y="258"/>
                  </a:cubicBezTo>
                  <a:cubicBezTo>
                    <a:pt x="504" y="184"/>
                    <a:pt x="519" y="93"/>
                    <a:pt x="544" y="72"/>
                  </a:cubicBezTo>
                  <a:cubicBezTo>
                    <a:pt x="552" y="65"/>
                    <a:pt x="557" y="66"/>
                    <a:pt x="562" y="67"/>
                  </a:cubicBezTo>
                  <a:cubicBezTo>
                    <a:pt x="581" y="72"/>
                    <a:pt x="604" y="104"/>
                    <a:pt x="611" y="123"/>
                  </a:cubicBezTo>
                  <a:cubicBezTo>
                    <a:pt x="638" y="200"/>
                    <a:pt x="681" y="247"/>
                    <a:pt x="737" y="260"/>
                  </a:cubicBezTo>
                  <a:cubicBezTo>
                    <a:pt x="748" y="262"/>
                    <a:pt x="759" y="264"/>
                    <a:pt x="770" y="264"/>
                  </a:cubicBezTo>
                  <a:cubicBezTo>
                    <a:pt x="807" y="264"/>
                    <a:pt x="842" y="250"/>
                    <a:pt x="872" y="235"/>
                  </a:cubicBezTo>
                  <a:lnTo>
                    <a:pt x="872" y="161"/>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237" name="Connecteur droit 236">
            <a:extLst>
              <a:ext uri="{FF2B5EF4-FFF2-40B4-BE49-F238E27FC236}">
                <a16:creationId xmlns:a16="http://schemas.microsoft.com/office/drawing/2014/main" id="{A2911585-F365-4841-A7F0-04DA77D41585}"/>
              </a:ext>
            </a:extLst>
          </p:cNvPr>
          <p:cNvCxnSpPr>
            <a:cxnSpLocks/>
          </p:cNvCxnSpPr>
          <p:nvPr/>
        </p:nvCxnSpPr>
        <p:spPr>
          <a:xfrm>
            <a:off x="2636628" y="4441655"/>
            <a:ext cx="648000" cy="0"/>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290" name="ZoneTexte 289">
            <a:extLst>
              <a:ext uri="{FF2B5EF4-FFF2-40B4-BE49-F238E27FC236}">
                <a16:creationId xmlns:a16="http://schemas.microsoft.com/office/drawing/2014/main" id="{81CAA6D8-60EA-469B-8432-F04BBD778263}"/>
              </a:ext>
            </a:extLst>
          </p:cNvPr>
          <p:cNvSpPr txBox="1"/>
          <p:nvPr/>
        </p:nvSpPr>
        <p:spPr>
          <a:xfrm>
            <a:off x="3259657" y="4295089"/>
            <a:ext cx="617884" cy="369332"/>
          </a:xfrm>
          <a:prstGeom prst="rect">
            <a:avLst/>
          </a:prstGeom>
          <a:noFill/>
        </p:spPr>
        <p:txBody>
          <a:bodyPr wrap="square" rtlCol="0">
            <a:spAutoFit/>
          </a:bodyPr>
          <a:lstStyle/>
          <a:p>
            <a:r>
              <a:rPr lang="fr-FR" sz="900" b="1" dirty="0">
                <a:solidFill>
                  <a:schemeClr val="accent2"/>
                </a:solidFill>
              </a:rPr>
              <a:t>Medium </a:t>
            </a:r>
            <a:r>
              <a:rPr lang="fr-FR" sz="900" b="1" dirty="0" err="1">
                <a:solidFill>
                  <a:schemeClr val="accent2"/>
                </a:solidFill>
              </a:rPr>
              <a:t>price</a:t>
            </a:r>
            <a:endParaRPr lang="fr-FR" sz="900" b="1" dirty="0">
              <a:solidFill>
                <a:schemeClr val="accent2"/>
              </a:solidFill>
            </a:endParaRPr>
          </a:p>
        </p:txBody>
      </p:sp>
      <p:pic>
        <p:nvPicPr>
          <p:cNvPr id="291" name="Image 290">
            <a:extLst>
              <a:ext uri="{FF2B5EF4-FFF2-40B4-BE49-F238E27FC236}">
                <a16:creationId xmlns:a16="http://schemas.microsoft.com/office/drawing/2014/main" id="{DA7D993B-5A22-409D-AF4F-CDEEBC6349D2}"/>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43396" y="3485408"/>
            <a:ext cx="795538" cy="321715"/>
          </a:xfrm>
          <a:prstGeom prst="rect">
            <a:avLst/>
          </a:prstGeom>
        </p:spPr>
      </p:pic>
      <p:pic>
        <p:nvPicPr>
          <p:cNvPr id="292" name="Image 291">
            <a:extLst>
              <a:ext uri="{FF2B5EF4-FFF2-40B4-BE49-F238E27FC236}">
                <a16:creationId xmlns:a16="http://schemas.microsoft.com/office/drawing/2014/main" id="{CB7627FC-F683-44CA-A722-A8B66ADE6E5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49314" y="2694819"/>
            <a:ext cx="383703" cy="190161"/>
          </a:xfrm>
          <a:prstGeom prst="rect">
            <a:avLst/>
          </a:prstGeom>
        </p:spPr>
      </p:pic>
      <p:grpSp>
        <p:nvGrpSpPr>
          <p:cNvPr id="297" name="Global_finance2" descr="{&quot;Key&quot;:&quot;POWER_USER_SHAPE_ICON&quot;,&quot;Value&quot;:&quot;POWER_USER_SHAPE_ICON_STYLE_1&quot;}">
            <a:extLst>
              <a:ext uri="{FF2B5EF4-FFF2-40B4-BE49-F238E27FC236}">
                <a16:creationId xmlns:a16="http://schemas.microsoft.com/office/drawing/2014/main" id="{1ECF0F3A-34DC-4FF5-AF99-A189E2D5620B}"/>
              </a:ext>
            </a:extLst>
          </p:cNvPr>
          <p:cNvGrpSpPr>
            <a:grpSpLocks noChangeAspect="1"/>
          </p:cNvGrpSpPr>
          <p:nvPr/>
        </p:nvGrpSpPr>
        <p:grpSpPr>
          <a:xfrm>
            <a:off x="2607312" y="2611907"/>
            <a:ext cx="531267" cy="447491"/>
            <a:chOff x="4246563" y="5827713"/>
            <a:chExt cx="825500" cy="695325"/>
          </a:xfrm>
        </p:grpSpPr>
        <p:sp>
          <p:nvSpPr>
            <p:cNvPr id="299" name="Freeform 134">
              <a:extLst>
                <a:ext uri="{FF2B5EF4-FFF2-40B4-BE49-F238E27FC236}">
                  <a16:creationId xmlns:a16="http://schemas.microsoft.com/office/drawing/2014/main" id="{C481C355-085E-4344-9607-6E7A6843FEBC}"/>
                </a:ext>
              </a:extLst>
            </p:cNvPr>
            <p:cNvSpPr>
              <a:spLocks/>
            </p:cNvSpPr>
            <p:nvPr/>
          </p:nvSpPr>
          <p:spPr bwMode="auto">
            <a:xfrm>
              <a:off x="4622800" y="6002338"/>
              <a:ext cx="449263" cy="520700"/>
            </a:xfrm>
            <a:custGeom>
              <a:avLst/>
              <a:gdLst>
                <a:gd name="T0" fmla="*/ 291 w 597"/>
                <a:gd name="T1" fmla="*/ 534 h 692"/>
                <a:gd name="T2" fmla="*/ 215 w 597"/>
                <a:gd name="T3" fmla="*/ 492 h 692"/>
                <a:gd name="T4" fmla="*/ 82 w 597"/>
                <a:gd name="T5" fmla="*/ 492 h 692"/>
                <a:gd name="T6" fmla="*/ 228 w 597"/>
                <a:gd name="T7" fmla="*/ 635 h 692"/>
                <a:gd name="T8" fmla="*/ 229 w 597"/>
                <a:gd name="T9" fmla="*/ 692 h 692"/>
                <a:gd name="T10" fmla="*/ 352 w 597"/>
                <a:gd name="T11" fmla="*/ 692 h 692"/>
                <a:gd name="T12" fmla="*/ 352 w 597"/>
                <a:gd name="T13" fmla="*/ 635 h 692"/>
                <a:gd name="T14" fmla="*/ 309 w 597"/>
                <a:gd name="T15" fmla="*/ 296 h 692"/>
                <a:gd name="T16" fmla="*/ 219 w 597"/>
                <a:gd name="T17" fmla="*/ 263 h 692"/>
                <a:gd name="T18" fmla="*/ 291 w 597"/>
                <a:gd name="T19" fmla="*/ 164 h 692"/>
                <a:gd name="T20" fmla="*/ 373 w 597"/>
                <a:gd name="T21" fmla="*/ 234 h 692"/>
                <a:gd name="T22" fmla="*/ 502 w 597"/>
                <a:gd name="T23" fmla="*/ 234 h 692"/>
                <a:gd name="T24" fmla="*/ 352 w 597"/>
                <a:gd name="T25" fmla="*/ 64 h 692"/>
                <a:gd name="T26" fmla="*/ 352 w 597"/>
                <a:gd name="T27" fmla="*/ 0 h 692"/>
                <a:gd name="T28" fmla="*/ 229 w 597"/>
                <a:gd name="T29" fmla="*/ 0 h 692"/>
                <a:gd name="T30" fmla="*/ 228 w 597"/>
                <a:gd name="T31" fmla="*/ 64 h 692"/>
                <a:gd name="T32" fmla="*/ 288 w 597"/>
                <a:gd name="T33" fmla="*/ 411 h 692"/>
                <a:gd name="T34" fmla="*/ 361 w 597"/>
                <a:gd name="T35" fmla="*/ 437 h 692"/>
                <a:gd name="T36" fmla="*/ 291 w 597"/>
                <a:gd name="T37" fmla="*/ 534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7" h="692">
                  <a:moveTo>
                    <a:pt x="291" y="534"/>
                  </a:moveTo>
                  <a:cubicBezTo>
                    <a:pt x="257" y="534"/>
                    <a:pt x="227" y="517"/>
                    <a:pt x="215" y="492"/>
                  </a:cubicBezTo>
                  <a:lnTo>
                    <a:pt x="82" y="492"/>
                  </a:lnTo>
                  <a:cubicBezTo>
                    <a:pt x="94" y="560"/>
                    <a:pt x="152" y="615"/>
                    <a:pt x="228" y="635"/>
                  </a:cubicBezTo>
                  <a:lnTo>
                    <a:pt x="229" y="692"/>
                  </a:lnTo>
                  <a:lnTo>
                    <a:pt x="352" y="692"/>
                  </a:lnTo>
                  <a:lnTo>
                    <a:pt x="352" y="635"/>
                  </a:lnTo>
                  <a:cubicBezTo>
                    <a:pt x="525" y="601"/>
                    <a:pt x="597" y="333"/>
                    <a:pt x="309" y="296"/>
                  </a:cubicBezTo>
                  <a:cubicBezTo>
                    <a:pt x="251" y="288"/>
                    <a:pt x="230" y="272"/>
                    <a:pt x="219" y="263"/>
                  </a:cubicBezTo>
                  <a:cubicBezTo>
                    <a:pt x="196" y="242"/>
                    <a:pt x="208" y="164"/>
                    <a:pt x="291" y="164"/>
                  </a:cubicBezTo>
                  <a:cubicBezTo>
                    <a:pt x="336" y="164"/>
                    <a:pt x="373" y="196"/>
                    <a:pt x="373" y="234"/>
                  </a:cubicBezTo>
                  <a:lnTo>
                    <a:pt x="502" y="234"/>
                  </a:lnTo>
                  <a:cubicBezTo>
                    <a:pt x="502" y="154"/>
                    <a:pt x="439" y="86"/>
                    <a:pt x="352" y="64"/>
                  </a:cubicBezTo>
                  <a:lnTo>
                    <a:pt x="352" y="0"/>
                  </a:lnTo>
                  <a:lnTo>
                    <a:pt x="229" y="0"/>
                  </a:lnTo>
                  <a:lnTo>
                    <a:pt x="228" y="64"/>
                  </a:lnTo>
                  <a:cubicBezTo>
                    <a:pt x="37" y="112"/>
                    <a:pt x="0" y="378"/>
                    <a:pt x="288" y="411"/>
                  </a:cubicBezTo>
                  <a:cubicBezTo>
                    <a:pt x="329" y="416"/>
                    <a:pt x="352" y="429"/>
                    <a:pt x="361" y="437"/>
                  </a:cubicBezTo>
                  <a:cubicBezTo>
                    <a:pt x="388" y="462"/>
                    <a:pt x="373" y="534"/>
                    <a:pt x="291" y="534"/>
                  </a:cubicBezTo>
                  <a:close/>
                </a:path>
              </a:pathLst>
            </a:custGeom>
            <a:noFill/>
            <a:ln w="19050" cap="flat">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Freeform 135">
              <a:extLst>
                <a:ext uri="{FF2B5EF4-FFF2-40B4-BE49-F238E27FC236}">
                  <a16:creationId xmlns:a16="http://schemas.microsoft.com/office/drawing/2014/main" id="{0B11FD2C-5C1E-4848-8685-F63A1627A714}"/>
                </a:ext>
              </a:extLst>
            </p:cNvPr>
            <p:cNvSpPr>
              <a:spLocks/>
            </p:cNvSpPr>
            <p:nvPr/>
          </p:nvSpPr>
          <p:spPr bwMode="auto">
            <a:xfrm>
              <a:off x="4246563" y="5827713"/>
              <a:ext cx="604838" cy="639763"/>
            </a:xfrm>
            <a:custGeom>
              <a:avLst/>
              <a:gdLst>
                <a:gd name="T0" fmla="*/ 805 w 805"/>
                <a:gd name="T1" fmla="*/ 233 h 852"/>
                <a:gd name="T2" fmla="*/ 425 w 805"/>
                <a:gd name="T3" fmla="*/ 0 h 852"/>
                <a:gd name="T4" fmla="*/ 0 w 805"/>
                <a:gd name="T5" fmla="*/ 426 h 852"/>
                <a:gd name="T6" fmla="*/ 425 w 805"/>
                <a:gd name="T7" fmla="*/ 852 h 852"/>
                <a:gd name="T8" fmla="*/ 622 w 805"/>
                <a:gd name="T9" fmla="*/ 804 h 852"/>
              </a:gdLst>
              <a:ahLst/>
              <a:cxnLst>
                <a:cxn ang="0">
                  <a:pos x="T0" y="T1"/>
                </a:cxn>
                <a:cxn ang="0">
                  <a:pos x="T2" y="T3"/>
                </a:cxn>
                <a:cxn ang="0">
                  <a:pos x="T4" y="T5"/>
                </a:cxn>
                <a:cxn ang="0">
                  <a:pos x="T6" y="T7"/>
                </a:cxn>
                <a:cxn ang="0">
                  <a:pos x="T8" y="T9"/>
                </a:cxn>
              </a:cxnLst>
              <a:rect l="0" t="0" r="r" b="b"/>
              <a:pathLst>
                <a:path w="805" h="852">
                  <a:moveTo>
                    <a:pt x="805" y="233"/>
                  </a:moveTo>
                  <a:cubicBezTo>
                    <a:pt x="734" y="95"/>
                    <a:pt x="591" y="0"/>
                    <a:pt x="425" y="0"/>
                  </a:cubicBezTo>
                  <a:cubicBezTo>
                    <a:pt x="190" y="0"/>
                    <a:pt x="0" y="191"/>
                    <a:pt x="0" y="426"/>
                  </a:cubicBezTo>
                  <a:cubicBezTo>
                    <a:pt x="0" y="661"/>
                    <a:pt x="190" y="852"/>
                    <a:pt x="425" y="852"/>
                  </a:cubicBezTo>
                  <a:cubicBezTo>
                    <a:pt x="496" y="852"/>
                    <a:pt x="563" y="835"/>
                    <a:pt x="622" y="804"/>
                  </a:cubicBez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 name="Freeform 136">
              <a:extLst>
                <a:ext uri="{FF2B5EF4-FFF2-40B4-BE49-F238E27FC236}">
                  <a16:creationId xmlns:a16="http://schemas.microsoft.com/office/drawing/2014/main" id="{4E082262-E226-4AFD-A3C6-8F6191327760}"/>
                </a:ext>
              </a:extLst>
            </p:cNvPr>
            <p:cNvSpPr>
              <a:spLocks/>
            </p:cNvSpPr>
            <p:nvPr/>
          </p:nvSpPr>
          <p:spPr bwMode="auto">
            <a:xfrm>
              <a:off x="4305300" y="5888038"/>
              <a:ext cx="447675" cy="482600"/>
            </a:xfrm>
            <a:custGeom>
              <a:avLst/>
              <a:gdLst>
                <a:gd name="T0" fmla="*/ 0 w 598"/>
                <a:gd name="T1" fmla="*/ 100 h 641"/>
                <a:gd name="T2" fmla="*/ 29 w 598"/>
                <a:gd name="T3" fmla="*/ 159 h 641"/>
                <a:gd name="T4" fmla="*/ 50 w 598"/>
                <a:gd name="T5" fmla="*/ 246 h 641"/>
                <a:gd name="T6" fmla="*/ 98 w 598"/>
                <a:gd name="T7" fmla="*/ 315 h 641"/>
                <a:gd name="T8" fmla="*/ 168 w 598"/>
                <a:gd name="T9" fmla="*/ 365 h 641"/>
                <a:gd name="T10" fmla="*/ 208 w 598"/>
                <a:gd name="T11" fmla="*/ 482 h 641"/>
                <a:gd name="T12" fmla="*/ 321 w 598"/>
                <a:gd name="T13" fmla="*/ 641 h 641"/>
                <a:gd name="T14" fmla="*/ 359 w 598"/>
                <a:gd name="T15" fmla="*/ 641 h 641"/>
                <a:gd name="T16" fmla="*/ 422 w 598"/>
                <a:gd name="T17" fmla="*/ 440 h 641"/>
                <a:gd name="T18" fmla="*/ 401 w 598"/>
                <a:gd name="T19" fmla="*/ 384 h 641"/>
                <a:gd name="T20" fmla="*/ 207 w 598"/>
                <a:gd name="T21" fmla="*/ 329 h 641"/>
                <a:gd name="T22" fmla="*/ 165 w 598"/>
                <a:gd name="T23" fmla="*/ 274 h 641"/>
                <a:gd name="T24" fmla="*/ 291 w 598"/>
                <a:gd name="T25" fmla="*/ 255 h 641"/>
                <a:gd name="T26" fmla="*/ 316 w 598"/>
                <a:gd name="T27" fmla="*/ 198 h 641"/>
                <a:gd name="T28" fmla="*/ 392 w 598"/>
                <a:gd name="T29" fmla="*/ 144 h 641"/>
                <a:gd name="T30" fmla="*/ 374 w 598"/>
                <a:gd name="T31" fmla="*/ 72 h 641"/>
                <a:gd name="T32" fmla="*/ 350 w 598"/>
                <a:gd name="T33" fmla="*/ 48 h 641"/>
                <a:gd name="T34" fmla="*/ 420 w 598"/>
                <a:gd name="T35" fmla="*/ 23 h 641"/>
                <a:gd name="T36" fmla="*/ 433 w 598"/>
                <a:gd name="T37" fmla="*/ 88 h 641"/>
                <a:gd name="T38" fmla="*/ 465 w 598"/>
                <a:gd name="T39" fmla="*/ 88 h 641"/>
                <a:gd name="T40" fmla="*/ 598 w 598"/>
                <a:gd name="T41" fmla="*/ 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8" h="641">
                  <a:moveTo>
                    <a:pt x="0" y="100"/>
                  </a:moveTo>
                  <a:lnTo>
                    <a:pt x="29" y="159"/>
                  </a:lnTo>
                  <a:lnTo>
                    <a:pt x="50" y="246"/>
                  </a:lnTo>
                  <a:lnTo>
                    <a:pt x="98" y="315"/>
                  </a:lnTo>
                  <a:lnTo>
                    <a:pt x="168" y="365"/>
                  </a:lnTo>
                  <a:lnTo>
                    <a:pt x="208" y="482"/>
                  </a:lnTo>
                  <a:lnTo>
                    <a:pt x="321" y="641"/>
                  </a:lnTo>
                  <a:lnTo>
                    <a:pt x="359" y="641"/>
                  </a:lnTo>
                  <a:lnTo>
                    <a:pt x="422" y="440"/>
                  </a:lnTo>
                  <a:lnTo>
                    <a:pt x="401" y="384"/>
                  </a:lnTo>
                  <a:lnTo>
                    <a:pt x="207" y="329"/>
                  </a:lnTo>
                  <a:lnTo>
                    <a:pt x="165" y="274"/>
                  </a:lnTo>
                  <a:lnTo>
                    <a:pt x="291" y="255"/>
                  </a:lnTo>
                  <a:lnTo>
                    <a:pt x="316" y="198"/>
                  </a:lnTo>
                  <a:lnTo>
                    <a:pt x="392" y="144"/>
                  </a:lnTo>
                  <a:lnTo>
                    <a:pt x="374" y="72"/>
                  </a:lnTo>
                  <a:lnTo>
                    <a:pt x="350" y="48"/>
                  </a:lnTo>
                  <a:lnTo>
                    <a:pt x="420" y="23"/>
                  </a:lnTo>
                  <a:lnTo>
                    <a:pt x="433" y="88"/>
                  </a:lnTo>
                  <a:lnTo>
                    <a:pt x="465" y="88"/>
                  </a:lnTo>
                  <a:lnTo>
                    <a:pt x="598" y="0"/>
                  </a:ln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03" name="ZoneTexte 302">
            <a:extLst>
              <a:ext uri="{FF2B5EF4-FFF2-40B4-BE49-F238E27FC236}">
                <a16:creationId xmlns:a16="http://schemas.microsoft.com/office/drawing/2014/main" id="{72DB8D78-D8C5-41CB-80BF-329C3E3473E6}"/>
              </a:ext>
            </a:extLst>
          </p:cNvPr>
          <p:cNvSpPr txBox="1"/>
          <p:nvPr/>
        </p:nvSpPr>
        <p:spPr>
          <a:xfrm>
            <a:off x="3373599" y="3497326"/>
            <a:ext cx="1051937" cy="276999"/>
          </a:xfrm>
          <a:prstGeom prst="rect">
            <a:avLst/>
          </a:prstGeom>
          <a:noFill/>
        </p:spPr>
        <p:txBody>
          <a:bodyPr wrap="square" rtlCol="0">
            <a:spAutoFit/>
          </a:bodyPr>
          <a:lstStyle/>
          <a:p>
            <a:r>
              <a:rPr lang="fr-FR" sz="1200" b="1" dirty="0" err="1">
                <a:solidFill>
                  <a:srgbClr val="C2D8D0"/>
                </a:solidFill>
              </a:rPr>
              <a:t>Customers</a:t>
            </a:r>
            <a:endParaRPr lang="fr-FR" sz="1200" b="1" dirty="0">
              <a:solidFill>
                <a:srgbClr val="C2D8D0"/>
              </a:solidFill>
            </a:endParaRPr>
          </a:p>
        </p:txBody>
      </p:sp>
      <p:cxnSp>
        <p:nvCxnSpPr>
          <p:cNvPr id="354" name="Connecteur droit 353">
            <a:extLst>
              <a:ext uri="{FF2B5EF4-FFF2-40B4-BE49-F238E27FC236}">
                <a16:creationId xmlns:a16="http://schemas.microsoft.com/office/drawing/2014/main" id="{7CDA79DD-B30C-4787-B808-9708483B73E6}"/>
              </a:ext>
            </a:extLst>
          </p:cNvPr>
          <p:cNvCxnSpPr/>
          <p:nvPr/>
        </p:nvCxnSpPr>
        <p:spPr>
          <a:xfrm>
            <a:off x="4572000" y="2168525"/>
            <a:ext cx="0" cy="2994025"/>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sp>
        <p:nvSpPr>
          <p:cNvPr id="355" name="ZoneTexte 354">
            <a:extLst>
              <a:ext uri="{FF2B5EF4-FFF2-40B4-BE49-F238E27FC236}">
                <a16:creationId xmlns:a16="http://schemas.microsoft.com/office/drawing/2014/main" id="{93CB2AD4-8B47-4E34-AE2A-CE00BDDAF547}"/>
              </a:ext>
            </a:extLst>
          </p:cNvPr>
          <p:cNvSpPr txBox="1"/>
          <p:nvPr/>
        </p:nvSpPr>
        <p:spPr>
          <a:xfrm>
            <a:off x="1471347" y="2091143"/>
            <a:ext cx="1944038" cy="246221"/>
          </a:xfrm>
          <a:prstGeom prst="rect">
            <a:avLst/>
          </a:prstGeom>
          <a:solidFill>
            <a:srgbClr val="1BAE8F"/>
          </a:solidFill>
        </p:spPr>
        <p:txBody>
          <a:bodyPr wrap="square" lIns="88900" tIns="38100" rIns="88900" bIns="38100" rtlCol="0">
            <a:spAutoFit/>
          </a:bodyPr>
          <a:lstStyle/>
          <a:p>
            <a:pPr algn="ctr"/>
            <a:r>
              <a:rPr lang="fr-FR" sz="1100" b="1" dirty="0">
                <a:solidFill>
                  <a:schemeClr val="bg1"/>
                </a:solidFill>
              </a:rPr>
              <a:t>Ventes de demi-produits</a:t>
            </a:r>
          </a:p>
        </p:txBody>
      </p:sp>
      <p:sp>
        <p:nvSpPr>
          <p:cNvPr id="356" name="ZoneTexte 355">
            <a:extLst>
              <a:ext uri="{FF2B5EF4-FFF2-40B4-BE49-F238E27FC236}">
                <a16:creationId xmlns:a16="http://schemas.microsoft.com/office/drawing/2014/main" id="{8336AAE3-F4CB-420F-BE55-BEEA98354F84}"/>
              </a:ext>
            </a:extLst>
          </p:cNvPr>
          <p:cNvSpPr txBox="1"/>
          <p:nvPr/>
        </p:nvSpPr>
        <p:spPr>
          <a:xfrm>
            <a:off x="1689831" y="4901661"/>
            <a:ext cx="1507071" cy="261610"/>
          </a:xfrm>
          <a:prstGeom prst="rect">
            <a:avLst/>
          </a:prstGeom>
          <a:solidFill>
            <a:srgbClr val="92D050"/>
          </a:solidFill>
        </p:spPr>
        <p:txBody>
          <a:bodyPr wrap="square" rtlCol="0">
            <a:spAutoFit/>
          </a:bodyPr>
          <a:lstStyle/>
          <a:p>
            <a:pPr algn="ctr"/>
            <a:r>
              <a:rPr lang="fr-FR" sz="1100" b="1" dirty="0">
                <a:solidFill>
                  <a:schemeClr val="bg1"/>
                </a:solidFill>
              </a:rPr>
              <a:t>Achats des chutes</a:t>
            </a:r>
          </a:p>
        </p:txBody>
      </p:sp>
      <p:pic>
        <p:nvPicPr>
          <p:cNvPr id="357" name="Espace réservé du contenu 190" descr="Une image contenant texte, pièce&#10;&#10;Description générée automatiquement">
            <a:extLst>
              <a:ext uri="{FF2B5EF4-FFF2-40B4-BE49-F238E27FC236}">
                <a16:creationId xmlns:a16="http://schemas.microsoft.com/office/drawing/2014/main" id="{70C935A6-A14E-4190-9844-6EA050A5C695}"/>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bwMode="gray">
          <a:xfrm>
            <a:off x="5917438" y="4227028"/>
            <a:ext cx="642939" cy="542170"/>
          </a:xfrm>
          <a:prstGeom prst="rect">
            <a:avLst/>
          </a:prstGeom>
        </p:spPr>
      </p:pic>
      <p:grpSp>
        <p:nvGrpSpPr>
          <p:cNvPr id="358" name="Smart_manufacturing3" descr="{&quot;Key&quot;:&quot;POWER_USER_SHAPE_ICON&quot;,&quot;Value&quot;:&quot;POWER_USER_SHAPE_ICON_STYLE_1&quot;}">
            <a:extLst>
              <a:ext uri="{FF2B5EF4-FFF2-40B4-BE49-F238E27FC236}">
                <a16:creationId xmlns:a16="http://schemas.microsoft.com/office/drawing/2014/main" id="{3297697D-8A47-4C0A-85B1-8BC2EB86B05F}"/>
              </a:ext>
            </a:extLst>
          </p:cNvPr>
          <p:cNvGrpSpPr>
            <a:grpSpLocks noChangeAspect="1"/>
          </p:cNvGrpSpPr>
          <p:nvPr>
            <p:custDataLst>
              <p:tags r:id="rId5"/>
            </p:custDataLst>
          </p:nvPr>
        </p:nvGrpSpPr>
        <p:grpSpPr>
          <a:xfrm>
            <a:off x="4926140" y="2942483"/>
            <a:ext cx="563798" cy="512290"/>
            <a:chOff x="8048626" y="923925"/>
            <a:chExt cx="642938" cy="584200"/>
          </a:xfrm>
          <a:solidFill>
            <a:srgbClr val="C2D8D0"/>
          </a:solidFill>
        </p:grpSpPr>
        <p:sp>
          <p:nvSpPr>
            <p:cNvPr id="359" name="Freeform 471">
              <a:extLst>
                <a:ext uri="{FF2B5EF4-FFF2-40B4-BE49-F238E27FC236}">
                  <a16:creationId xmlns:a16="http://schemas.microsoft.com/office/drawing/2014/main" id="{D6DAFC8C-119C-4D1E-BCE2-5A912721E965}"/>
                </a:ext>
              </a:extLst>
            </p:cNvPr>
            <p:cNvSpPr>
              <a:spLocks noEditPoints="1"/>
            </p:cNvSpPr>
            <p:nvPr/>
          </p:nvSpPr>
          <p:spPr bwMode="auto">
            <a:xfrm>
              <a:off x="8048626" y="923925"/>
              <a:ext cx="642938" cy="584200"/>
            </a:xfrm>
            <a:custGeom>
              <a:avLst/>
              <a:gdLst>
                <a:gd name="T0" fmla="*/ 16 w 470"/>
                <a:gd name="T1" fmla="*/ 410 h 426"/>
                <a:gd name="T2" fmla="*/ 453 w 470"/>
                <a:gd name="T3" fmla="*/ 410 h 426"/>
                <a:gd name="T4" fmla="*/ 453 w 470"/>
                <a:gd name="T5" fmla="*/ 225 h 426"/>
                <a:gd name="T6" fmla="*/ 370 w 470"/>
                <a:gd name="T7" fmla="*/ 189 h 426"/>
                <a:gd name="T8" fmla="*/ 370 w 470"/>
                <a:gd name="T9" fmla="*/ 232 h 426"/>
                <a:gd name="T10" fmla="*/ 270 w 470"/>
                <a:gd name="T11" fmla="*/ 189 h 426"/>
                <a:gd name="T12" fmla="*/ 270 w 470"/>
                <a:gd name="T13" fmla="*/ 232 h 426"/>
                <a:gd name="T14" fmla="*/ 171 w 470"/>
                <a:gd name="T15" fmla="*/ 189 h 426"/>
                <a:gd name="T16" fmla="*/ 171 w 470"/>
                <a:gd name="T17" fmla="*/ 233 h 426"/>
                <a:gd name="T18" fmla="*/ 96 w 470"/>
                <a:gd name="T19" fmla="*/ 233 h 426"/>
                <a:gd name="T20" fmla="*/ 88 w 470"/>
                <a:gd name="T21" fmla="*/ 17 h 426"/>
                <a:gd name="T22" fmla="*/ 56 w 470"/>
                <a:gd name="T23" fmla="*/ 17 h 426"/>
                <a:gd name="T24" fmla="*/ 49 w 470"/>
                <a:gd name="T25" fmla="*/ 233 h 426"/>
                <a:gd name="T26" fmla="*/ 16 w 470"/>
                <a:gd name="T27" fmla="*/ 233 h 426"/>
                <a:gd name="T28" fmla="*/ 16 w 470"/>
                <a:gd name="T29" fmla="*/ 410 h 426"/>
                <a:gd name="T30" fmla="*/ 470 w 470"/>
                <a:gd name="T31" fmla="*/ 426 h 426"/>
                <a:gd name="T32" fmla="*/ 0 w 470"/>
                <a:gd name="T33" fmla="*/ 426 h 426"/>
                <a:gd name="T34" fmla="*/ 0 w 470"/>
                <a:gd name="T35" fmla="*/ 217 h 426"/>
                <a:gd name="T36" fmla="*/ 32 w 470"/>
                <a:gd name="T37" fmla="*/ 217 h 426"/>
                <a:gd name="T38" fmla="*/ 40 w 470"/>
                <a:gd name="T39" fmla="*/ 0 h 426"/>
                <a:gd name="T40" fmla="*/ 104 w 470"/>
                <a:gd name="T41" fmla="*/ 0 h 426"/>
                <a:gd name="T42" fmla="*/ 112 w 470"/>
                <a:gd name="T43" fmla="*/ 217 h 426"/>
                <a:gd name="T44" fmla="*/ 154 w 470"/>
                <a:gd name="T45" fmla="*/ 217 h 426"/>
                <a:gd name="T46" fmla="*/ 154 w 470"/>
                <a:gd name="T47" fmla="*/ 164 h 426"/>
                <a:gd name="T48" fmla="*/ 254 w 470"/>
                <a:gd name="T49" fmla="*/ 206 h 426"/>
                <a:gd name="T50" fmla="*/ 254 w 470"/>
                <a:gd name="T51" fmla="*/ 164 h 426"/>
                <a:gd name="T52" fmla="*/ 353 w 470"/>
                <a:gd name="T53" fmla="*/ 206 h 426"/>
                <a:gd name="T54" fmla="*/ 353 w 470"/>
                <a:gd name="T55" fmla="*/ 164 h 426"/>
                <a:gd name="T56" fmla="*/ 470 w 470"/>
                <a:gd name="T57" fmla="*/ 214 h 426"/>
                <a:gd name="T58" fmla="*/ 470 w 470"/>
                <a:gd name="T59"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0" h="426">
                  <a:moveTo>
                    <a:pt x="16" y="410"/>
                  </a:moveTo>
                  <a:lnTo>
                    <a:pt x="453" y="410"/>
                  </a:lnTo>
                  <a:lnTo>
                    <a:pt x="453" y="225"/>
                  </a:lnTo>
                  <a:lnTo>
                    <a:pt x="370" y="189"/>
                  </a:lnTo>
                  <a:lnTo>
                    <a:pt x="370" y="232"/>
                  </a:lnTo>
                  <a:lnTo>
                    <a:pt x="270" y="189"/>
                  </a:lnTo>
                  <a:lnTo>
                    <a:pt x="270" y="232"/>
                  </a:lnTo>
                  <a:lnTo>
                    <a:pt x="171" y="189"/>
                  </a:lnTo>
                  <a:lnTo>
                    <a:pt x="171" y="233"/>
                  </a:lnTo>
                  <a:lnTo>
                    <a:pt x="96" y="233"/>
                  </a:lnTo>
                  <a:lnTo>
                    <a:pt x="88" y="17"/>
                  </a:lnTo>
                  <a:lnTo>
                    <a:pt x="56" y="17"/>
                  </a:lnTo>
                  <a:lnTo>
                    <a:pt x="49" y="233"/>
                  </a:lnTo>
                  <a:lnTo>
                    <a:pt x="16" y="233"/>
                  </a:lnTo>
                  <a:lnTo>
                    <a:pt x="16" y="410"/>
                  </a:lnTo>
                  <a:close/>
                  <a:moveTo>
                    <a:pt x="470" y="426"/>
                  </a:moveTo>
                  <a:lnTo>
                    <a:pt x="0" y="426"/>
                  </a:lnTo>
                  <a:lnTo>
                    <a:pt x="0" y="217"/>
                  </a:lnTo>
                  <a:lnTo>
                    <a:pt x="32" y="217"/>
                  </a:lnTo>
                  <a:lnTo>
                    <a:pt x="40" y="0"/>
                  </a:lnTo>
                  <a:lnTo>
                    <a:pt x="104" y="0"/>
                  </a:lnTo>
                  <a:lnTo>
                    <a:pt x="112" y="217"/>
                  </a:lnTo>
                  <a:lnTo>
                    <a:pt x="154" y="217"/>
                  </a:lnTo>
                  <a:lnTo>
                    <a:pt x="154" y="164"/>
                  </a:lnTo>
                  <a:lnTo>
                    <a:pt x="254" y="206"/>
                  </a:lnTo>
                  <a:lnTo>
                    <a:pt x="254" y="164"/>
                  </a:lnTo>
                  <a:lnTo>
                    <a:pt x="353" y="206"/>
                  </a:lnTo>
                  <a:lnTo>
                    <a:pt x="353" y="164"/>
                  </a:lnTo>
                  <a:lnTo>
                    <a:pt x="470" y="214"/>
                  </a:lnTo>
                  <a:lnTo>
                    <a:pt x="470" y="42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 name="Freeform 472">
              <a:extLst>
                <a:ext uri="{FF2B5EF4-FFF2-40B4-BE49-F238E27FC236}">
                  <a16:creationId xmlns:a16="http://schemas.microsoft.com/office/drawing/2014/main" id="{EE5BE1AF-22CB-4AE7-A15B-F737F330759E}"/>
                </a:ext>
              </a:extLst>
            </p:cNvPr>
            <p:cNvSpPr>
              <a:spLocks noEditPoints="1"/>
            </p:cNvSpPr>
            <p:nvPr/>
          </p:nvSpPr>
          <p:spPr bwMode="auto">
            <a:xfrm>
              <a:off x="8524876" y="1300163"/>
              <a:ext cx="106363" cy="103188"/>
            </a:xfrm>
            <a:custGeom>
              <a:avLst/>
              <a:gdLst>
                <a:gd name="T0" fmla="*/ 17 w 77"/>
                <a:gd name="T1" fmla="*/ 59 h 76"/>
                <a:gd name="T2" fmla="*/ 60 w 77"/>
                <a:gd name="T3" fmla="*/ 59 h 76"/>
                <a:gd name="T4" fmla="*/ 60 w 77"/>
                <a:gd name="T5" fmla="*/ 16 h 76"/>
                <a:gd name="T6" fmla="*/ 17 w 77"/>
                <a:gd name="T7" fmla="*/ 16 h 76"/>
                <a:gd name="T8" fmla="*/ 17 w 77"/>
                <a:gd name="T9" fmla="*/ 59 h 76"/>
                <a:gd name="T10" fmla="*/ 77 w 77"/>
                <a:gd name="T11" fmla="*/ 76 h 76"/>
                <a:gd name="T12" fmla="*/ 0 w 77"/>
                <a:gd name="T13" fmla="*/ 76 h 76"/>
                <a:gd name="T14" fmla="*/ 0 w 77"/>
                <a:gd name="T15" fmla="*/ 0 h 76"/>
                <a:gd name="T16" fmla="*/ 77 w 77"/>
                <a:gd name="T17" fmla="*/ 0 h 76"/>
                <a:gd name="T18" fmla="*/ 77 w 7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6">
                  <a:moveTo>
                    <a:pt x="17" y="59"/>
                  </a:moveTo>
                  <a:lnTo>
                    <a:pt x="60" y="59"/>
                  </a:lnTo>
                  <a:lnTo>
                    <a:pt x="60" y="16"/>
                  </a:lnTo>
                  <a:lnTo>
                    <a:pt x="17" y="16"/>
                  </a:lnTo>
                  <a:lnTo>
                    <a:pt x="17" y="59"/>
                  </a:lnTo>
                  <a:close/>
                  <a:moveTo>
                    <a:pt x="77" y="76"/>
                  </a:moveTo>
                  <a:lnTo>
                    <a:pt x="0" y="76"/>
                  </a:lnTo>
                  <a:lnTo>
                    <a:pt x="0" y="0"/>
                  </a:lnTo>
                  <a:lnTo>
                    <a:pt x="77" y="0"/>
                  </a:lnTo>
                  <a:lnTo>
                    <a:pt x="77"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 name="Freeform 473">
              <a:extLst>
                <a:ext uri="{FF2B5EF4-FFF2-40B4-BE49-F238E27FC236}">
                  <a16:creationId xmlns:a16="http://schemas.microsoft.com/office/drawing/2014/main" id="{9E9CCE9E-F594-4B5A-A234-A0EE9764C899}"/>
                </a:ext>
              </a:extLst>
            </p:cNvPr>
            <p:cNvSpPr>
              <a:spLocks noEditPoints="1"/>
            </p:cNvSpPr>
            <p:nvPr/>
          </p:nvSpPr>
          <p:spPr bwMode="auto">
            <a:xfrm>
              <a:off x="8393113" y="1300163"/>
              <a:ext cx="103188"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 name="Freeform 474">
              <a:extLst>
                <a:ext uri="{FF2B5EF4-FFF2-40B4-BE49-F238E27FC236}">
                  <a16:creationId xmlns:a16="http://schemas.microsoft.com/office/drawing/2014/main" id="{EBEF2398-FDFE-473C-A79D-6E39C76EBDE6}"/>
                </a:ext>
              </a:extLst>
            </p:cNvPr>
            <p:cNvSpPr>
              <a:spLocks noEditPoints="1"/>
            </p:cNvSpPr>
            <p:nvPr/>
          </p:nvSpPr>
          <p:spPr bwMode="auto">
            <a:xfrm>
              <a:off x="8259763" y="1300163"/>
              <a:ext cx="104775"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3" name="Assembling2" descr="{&quot;Key&quot;:&quot;POWER_USER_SHAPE_ICON&quot;,&quot;Value&quot;:&quot;POWER_USER_SHAPE_ICON_STYLE_1&quot;}">
            <a:extLst>
              <a:ext uri="{FF2B5EF4-FFF2-40B4-BE49-F238E27FC236}">
                <a16:creationId xmlns:a16="http://schemas.microsoft.com/office/drawing/2014/main" id="{A93B0BEC-62A4-4358-9B42-AD265F491B7A}"/>
              </a:ext>
            </a:extLst>
          </p:cNvPr>
          <p:cNvGrpSpPr>
            <a:grpSpLocks noChangeAspect="1"/>
          </p:cNvGrpSpPr>
          <p:nvPr/>
        </p:nvGrpSpPr>
        <p:grpSpPr>
          <a:xfrm>
            <a:off x="8036625" y="2942483"/>
            <a:ext cx="489523" cy="542925"/>
            <a:chOff x="4249738" y="6434138"/>
            <a:chExt cx="261938" cy="290513"/>
          </a:xfrm>
          <a:solidFill>
            <a:srgbClr val="C2D8D0"/>
          </a:solidFill>
        </p:grpSpPr>
        <p:sp>
          <p:nvSpPr>
            <p:cNvPr id="364" name="Freeform 189">
              <a:extLst>
                <a:ext uri="{FF2B5EF4-FFF2-40B4-BE49-F238E27FC236}">
                  <a16:creationId xmlns:a16="http://schemas.microsoft.com/office/drawing/2014/main" id="{6F8B88E2-B057-4650-978E-BCB6D12BAF96}"/>
                </a:ext>
              </a:extLst>
            </p:cNvPr>
            <p:cNvSpPr>
              <a:spLocks/>
            </p:cNvSpPr>
            <p:nvPr/>
          </p:nvSpPr>
          <p:spPr bwMode="auto">
            <a:xfrm>
              <a:off x="4259263" y="6597650"/>
              <a:ext cx="26988"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9"/>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5" name="Freeform 190">
              <a:extLst>
                <a:ext uri="{FF2B5EF4-FFF2-40B4-BE49-F238E27FC236}">
                  <a16:creationId xmlns:a16="http://schemas.microsoft.com/office/drawing/2014/main" id="{7284F674-5DB8-4BF1-8790-C5CEB5AC06AE}"/>
                </a:ext>
              </a:extLst>
            </p:cNvPr>
            <p:cNvSpPr>
              <a:spLocks/>
            </p:cNvSpPr>
            <p:nvPr/>
          </p:nvSpPr>
          <p:spPr bwMode="auto">
            <a:xfrm>
              <a:off x="4313238" y="6597650"/>
              <a:ext cx="26988" cy="25400"/>
            </a:xfrm>
            <a:custGeom>
              <a:avLst/>
              <a:gdLst>
                <a:gd name="T0" fmla="*/ 112 w 129"/>
                <a:gd name="T1" fmla="*/ 65 h 129"/>
                <a:gd name="T2" fmla="*/ 96 w 129"/>
                <a:gd name="T3" fmla="*/ 65 h 129"/>
                <a:gd name="T4" fmla="*/ 64 w 129"/>
                <a:gd name="T5" fmla="*/ 96 h 129"/>
                <a:gd name="T6" fmla="*/ 33 w 129"/>
                <a:gd name="T7" fmla="*/ 65 h 129"/>
                <a:gd name="T8" fmla="*/ 64 w 129"/>
                <a:gd name="T9" fmla="*/ 34 h 129"/>
                <a:gd name="T10" fmla="*/ 96 w 129"/>
                <a:gd name="T11" fmla="*/ 65 h 129"/>
                <a:gd name="T12" fmla="*/ 112 w 129"/>
                <a:gd name="T13" fmla="*/ 65 h 129"/>
                <a:gd name="T14" fmla="*/ 129 w 129"/>
                <a:gd name="T15" fmla="*/ 65 h 129"/>
                <a:gd name="T16" fmla="*/ 64 w 129"/>
                <a:gd name="T17" fmla="*/ 0 h 129"/>
                <a:gd name="T18" fmla="*/ 0 w 129"/>
                <a:gd name="T19" fmla="*/ 65 h 129"/>
                <a:gd name="T20" fmla="*/ 64 w 129"/>
                <a:gd name="T21" fmla="*/ 129 h 129"/>
                <a:gd name="T22" fmla="*/ 129 w 129"/>
                <a:gd name="T23" fmla="*/ 65 h 129"/>
                <a:gd name="T24" fmla="*/ 112 w 129"/>
                <a:gd name="T2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2" y="65"/>
                  </a:moveTo>
                  <a:lnTo>
                    <a:pt x="96" y="65"/>
                  </a:lnTo>
                  <a:cubicBezTo>
                    <a:pt x="96" y="82"/>
                    <a:pt x="82" y="96"/>
                    <a:pt x="64" y="96"/>
                  </a:cubicBezTo>
                  <a:cubicBezTo>
                    <a:pt x="47" y="96"/>
                    <a:pt x="33" y="82"/>
                    <a:pt x="33" y="65"/>
                  </a:cubicBezTo>
                  <a:cubicBezTo>
                    <a:pt x="33" y="48"/>
                    <a:pt x="47" y="34"/>
                    <a:pt x="64" y="34"/>
                  </a:cubicBezTo>
                  <a:cubicBezTo>
                    <a:pt x="82" y="34"/>
                    <a:pt x="96" y="48"/>
                    <a:pt x="96" y="65"/>
                  </a:cubicBezTo>
                  <a:lnTo>
                    <a:pt x="112" y="65"/>
                  </a:lnTo>
                  <a:lnTo>
                    <a:pt x="129" y="65"/>
                  </a:lnTo>
                  <a:cubicBezTo>
                    <a:pt x="129" y="29"/>
                    <a:pt x="100" y="0"/>
                    <a:pt x="64" y="0"/>
                  </a:cubicBezTo>
                  <a:cubicBezTo>
                    <a:pt x="29" y="0"/>
                    <a:pt x="0" y="29"/>
                    <a:pt x="0" y="65"/>
                  </a:cubicBezTo>
                  <a:cubicBezTo>
                    <a:pt x="0" y="100"/>
                    <a:pt x="29" y="129"/>
                    <a:pt x="64" y="129"/>
                  </a:cubicBezTo>
                  <a:cubicBezTo>
                    <a:pt x="100" y="129"/>
                    <a:pt x="129" y="100"/>
                    <a:pt x="129" y="65"/>
                  </a:cubicBezTo>
                  <a:lnTo>
                    <a:pt x="112" y="6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6" name="Freeform 191">
              <a:extLst>
                <a:ext uri="{FF2B5EF4-FFF2-40B4-BE49-F238E27FC236}">
                  <a16:creationId xmlns:a16="http://schemas.microsoft.com/office/drawing/2014/main" id="{1EBF9169-1964-4B3E-9859-BE05AE2097E2}"/>
                </a:ext>
              </a:extLst>
            </p:cNvPr>
            <p:cNvSpPr>
              <a:spLocks/>
            </p:cNvSpPr>
            <p:nvPr/>
          </p:nvSpPr>
          <p:spPr bwMode="auto">
            <a:xfrm>
              <a:off x="4367213" y="6597650"/>
              <a:ext cx="26988" cy="25400"/>
            </a:xfrm>
            <a:custGeom>
              <a:avLst/>
              <a:gdLst>
                <a:gd name="T0" fmla="*/ 113 w 129"/>
                <a:gd name="T1" fmla="*/ 64 h 129"/>
                <a:gd name="T2" fmla="*/ 96 w 129"/>
                <a:gd name="T3" fmla="*/ 64 h 129"/>
                <a:gd name="T4" fmla="*/ 65 w 129"/>
                <a:gd name="T5" fmla="*/ 96 h 129"/>
                <a:gd name="T6" fmla="*/ 65 w 129"/>
                <a:gd name="T7" fmla="*/ 96 h 129"/>
                <a:gd name="T8" fmla="*/ 34 w 129"/>
                <a:gd name="T9" fmla="*/ 65 h 129"/>
                <a:gd name="T10" fmla="*/ 65 w 129"/>
                <a:gd name="T11" fmla="*/ 34 h 129"/>
                <a:gd name="T12" fmla="*/ 96 w 129"/>
                <a:gd name="T13" fmla="*/ 65 h 129"/>
                <a:gd name="T14" fmla="*/ 113 w 129"/>
                <a:gd name="T15" fmla="*/ 64 h 129"/>
                <a:gd name="T16" fmla="*/ 129 w 129"/>
                <a:gd name="T17" fmla="*/ 64 h 129"/>
                <a:gd name="T18" fmla="*/ 65 w 129"/>
                <a:gd name="T19" fmla="*/ 0 h 129"/>
                <a:gd name="T20" fmla="*/ 0 w 129"/>
                <a:gd name="T21" fmla="*/ 65 h 129"/>
                <a:gd name="T22" fmla="*/ 65 w 129"/>
                <a:gd name="T23" fmla="*/ 129 h 129"/>
                <a:gd name="T24" fmla="*/ 129 w 129"/>
                <a:gd name="T25" fmla="*/ 64 h 129"/>
                <a:gd name="T26" fmla="*/ 129 w 129"/>
                <a:gd name="T27" fmla="*/ 64 h 129"/>
                <a:gd name="T28" fmla="*/ 113 w 129"/>
                <a:gd name="T2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29">
                  <a:moveTo>
                    <a:pt x="113" y="64"/>
                  </a:moveTo>
                  <a:lnTo>
                    <a:pt x="96" y="64"/>
                  </a:lnTo>
                  <a:cubicBezTo>
                    <a:pt x="96" y="82"/>
                    <a:pt x="82" y="96"/>
                    <a:pt x="65" y="96"/>
                  </a:cubicBezTo>
                  <a:lnTo>
                    <a:pt x="65" y="96"/>
                  </a:lnTo>
                  <a:cubicBezTo>
                    <a:pt x="48" y="96"/>
                    <a:pt x="34" y="82"/>
                    <a:pt x="34" y="65"/>
                  </a:cubicBezTo>
                  <a:cubicBezTo>
                    <a:pt x="34" y="47"/>
                    <a:pt x="48" y="34"/>
                    <a:pt x="65" y="34"/>
                  </a:cubicBezTo>
                  <a:cubicBezTo>
                    <a:pt x="82" y="34"/>
                    <a:pt x="96" y="47"/>
                    <a:pt x="96" y="65"/>
                  </a:cubicBezTo>
                  <a:lnTo>
                    <a:pt x="113" y="64"/>
                  </a:lnTo>
                  <a:lnTo>
                    <a:pt x="129" y="64"/>
                  </a:lnTo>
                  <a:cubicBezTo>
                    <a:pt x="129" y="29"/>
                    <a:pt x="100" y="0"/>
                    <a:pt x="65" y="0"/>
                  </a:cubicBezTo>
                  <a:cubicBezTo>
                    <a:pt x="29" y="0"/>
                    <a:pt x="0" y="29"/>
                    <a:pt x="0" y="65"/>
                  </a:cubicBezTo>
                  <a:cubicBezTo>
                    <a:pt x="0" y="100"/>
                    <a:pt x="29" y="129"/>
                    <a:pt x="65" y="129"/>
                  </a:cubicBezTo>
                  <a:cubicBezTo>
                    <a:pt x="101" y="129"/>
                    <a:pt x="129" y="100"/>
                    <a:pt x="129" y="64"/>
                  </a:cubicBezTo>
                  <a:lnTo>
                    <a:pt x="129" y="64"/>
                  </a:ln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7" name="Freeform 192">
              <a:extLst>
                <a:ext uri="{FF2B5EF4-FFF2-40B4-BE49-F238E27FC236}">
                  <a16:creationId xmlns:a16="http://schemas.microsoft.com/office/drawing/2014/main" id="{963892B6-2FDE-4D7C-B03D-3CE6DF3D83B1}"/>
                </a:ext>
              </a:extLst>
            </p:cNvPr>
            <p:cNvSpPr>
              <a:spLocks/>
            </p:cNvSpPr>
            <p:nvPr/>
          </p:nvSpPr>
          <p:spPr bwMode="auto">
            <a:xfrm>
              <a:off x="4421188" y="6597650"/>
              <a:ext cx="26988" cy="25400"/>
            </a:xfrm>
            <a:custGeom>
              <a:avLst/>
              <a:gdLst>
                <a:gd name="T0" fmla="*/ 112 w 129"/>
                <a:gd name="T1" fmla="*/ 64 h 129"/>
                <a:gd name="T2" fmla="*/ 96 w 129"/>
                <a:gd name="T3" fmla="*/ 64 h 129"/>
                <a:gd name="T4" fmla="*/ 64 w 129"/>
                <a:gd name="T5" fmla="*/ 95 h 129"/>
                <a:gd name="T6" fmla="*/ 33 w 129"/>
                <a:gd name="T7" fmla="*/ 64 h 129"/>
                <a:gd name="T8" fmla="*/ 64 w 129"/>
                <a:gd name="T9" fmla="*/ 33 h 129"/>
                <a:gd name="T10" fmla="*/ 96 w 129"/>
                <a:gd name="T11" fmla="*/ 64 h 129"/>
                <a:gd name="T12" fmla="*/ 112 w 129"/>
                <a:gd name="T13" fmla="*/ 64 h 129"/>
                <a:gd name="T14" fmla="*/ 129 w 129"/>
                <a:gd name="T15" fmla="*/ 64 h 129"/>
                <a:gd name="T16" fmla="*/ 64 w 129"/>
                <a:gd name="T17" fmla="*/ 0 h 129"/>
                <a:gd name="T18" fmla="*/ 0 w 129"/>
                <a:gd name="T19" fmla="*/ 64 h 129"/>
                <a:gd name="T20" fmla="*/ 64 w 129"/>
                <a:gd name="T21" fmla="*/ 129 h 129"/>
                <a:gd name="T22" fmla="*/ 129 w 129"/>
                <a:gd name="T23" fmla="*/ 64 h 129"/>
                <a:gd name="T24" fmla="*/ 129 w 129"/>
                <a:gd name="T25" fmla="*/ 64 h 129"/>
                <a:gd name="T26" fmla="*/ 112 w 129"/>
                <a:gd name="T2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129">
                  <a:moveTo>
                    <a:pt x="112" y="64"/>
                  </a:moveTo>
                  <a:lnTo>
                    <a:pt x="96" y="64"/>
                  </a:lnTo>
                  <a:cubicBezTo>
                    <a:pt x="96" y="82"/>
                    <a:pt x="82" y="95"/>
                    <a:pt x="64" y="95"/>
                  </a:cubicBezTo>
                  <a:cubicBezTo>
                    <a:pt x="47" y="95"/>
                    <a:pt x="33" y="82"/>
                    <a:pt x="33" y="64"/>
                  </a:cubicBezTo>
                  <a:cubicBezTo>
                    <a:pt x="33" y="47"/>
                    <a:pt x="47" y="33"/>
                    <a:pt x="64" y="33"/>
                  </a:cubicBezTo>
                  <a:cubicBezTo>
                    <a:pt x="82" y="33"/>
                    <a:pt x="96" y="47"/>
                    <a:pt x="96" y="64"/>
                  </a:cubicBezTo>
                  <a:lnTo>
                    <a:pt x="112" y="64"/>
                  </a:lnTo>
                  <a:lnTo>
                    <a:pt x="129" y="64"/>
                  </a:lnTo>
                  <a:cubicBezTo>
                    <a:pt x="129" y="29"/>
                    <a:pt x="100" y="0"/>
                    <a:pt x="64" y="0"/>
                  </a:cubicBezTo>
                  <a:cubicBezTo>
                    <a:pt x="29" y="0"/>
                    <a:pt x="0" y="29"/>
                    <a:pt x="0" y="64"/>
                  </a:cubicBezTo>
                  <a:cubicBezTo>
                    <a:pt x="0" y="100"/>
                    <a:pt x="29" y="129"/>
                    <a:pt x="64" y="129"/>
                  </a:cubicBezTo>
                  <a:cubicBezTo>
                    <a:pt x="100" y="129"/>
                    <a:pt x="129" y="100"/>
                    <a:pt x="129" y="64"/>
                  </a:cubicBezTo>
                  <a:lnTo>
                    <a:pt x="129" y="64"/>
                  </a:lnTo>
                  <a:lnTo>
                    <a:pt x="112"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8" name="Freeform 193">
              <a:extLst>
                <a:ext uri="{FF2B5EF4-FFF2-40B4-BE49-F238E27FC236}">
                  <a16:creationId xmlns:a16="http://schemas.microsoft.com/office/drawing/2014/main" id="{E86D01E8-1D0A-43F5-AAD8-A76694D12A42}"/>
                </a:ext>
              </a:extLst>
            </p:cNvPr>
            <p:cNvSpPr>
              <a:spLocks/>
            </p:cNvSpPr>
            <p:nvPr/>
          </p:nvSpPr>
          <p:spPr bwMode="auto">
            <a:xfrm>
              <a:off x="4475163" y="6597650"/>
              <a:ext cx="25400"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8"/>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9" name="Freeform 194">
              <a:extLst>
                <a:ext uri="{FF2B5EF4-FFF2-40B4-BE49-F238E27FC236}">
                  <a16:creationId xmlns:a16="http://schemas.microsoft.com/office/drawing/2014/main" id="{6852AF3B-3CE5-401C-B08F-3E97A56C3BB1}"/>
                </a:ext>
              </a:extLst>
            </p:cNvPr>
            <p:cNvSpPr>
              <a:spLocks/>
            </p:cNvSpPr>
            <p:nvPr/>
          </p:nvSpPr>
          <p:spPr bwMode="auto">
            <a:xfrm>
              <a:off x="4249738" y="6589713"/>
              <a:ext cx="261938" cy="41275"/>
            </a:xfrm>
            <a:custGeom>
              <a:avLst/>
              <a:gdLst>
                <a:gd name="T0" fmla="*/ 1174 w 1276"/>
                <a:gd name="T1" fmla="*/ 187 h 205"/>
                <a:gd name="T2" fmla="*/ 1174 w 1276"/>
                <a:gd name="T3" fmla="*/ 171 h 205"/>
                <a:gd name="T4" fmla="*/ 102 w 1276"/>
                <a:gd name="T5" fmla="*/ 172 h 205"/>
                <a:gd name="T6" fmla="*/ 34 w 1276"/>
                <a:gd name="T7" fmla="*/ 103 h 205"/>
                <a:gd name="T8" fmla="*/ 102 w 1276"/>
                <a:gd name="T9" fmla="*/ 35 h 205"/>
                <a:gd name="T10" fmla="*/ 1174 w 1276"/>
                <a:gd name="T11" fmla="*/ 33 h 205"/>
                <a:gd name="T12" fmla="*/ 1242 w 1276"/>
                <a:gd name="T13" fmla="*/ 102 h 205"/>
                <a:gd name="T14" fmla="*/ 1174 w 1276"/>
                <a:gd name="T15" fmla="*/ 171 h 205"/>
                <a:gd name="T16" fmla="*/ 1174 w 1276"/>
                <a:gd name="T17" fmla="*/ 187 h 205"/>
                <a:gd name="T18" fmla="*/ 1174 w 1276"/>
                <a:gd name="T19" fmla="*/ 204 h 205"/>
                <a:gd name="T20" fmla="*/ 1276 w 1276"/>
                <a:gd name="T21" fmla="*/ 102 h 205"/>
                <a:gd name="T22" fmla="*/ 1174 w 1276"/>
                <a:gd name="T23" fmla="*/ 0 h 205"/>
                <a:gd name="T24" fmla="*/ 102 w 1276"/>
                <a:gd name="T25" fmla="*/ 1 h 205"/>
                <a:gd name="T26" fmla="*/ 0 w 1276"/>
                <a:gd name="T27" fmla="*/ 103 h 205"/>
                <a:gd name="T28" fmla="*/ 102 w 1276"/>
                <a:gd name="T29" fmla="*/ 205 h 205"/>
                <a:gd name="T30" fmla="*/ 1174 w 1276"/>
                <a:gd name="T31" fmla="*/ 204 h 205"/>
                <a:gd name="T32" fmla="*/ 1174 w 1276"/>
                <a:gd name="T33" fmla="*/ 1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6" h="205">
                  <a:moveTo>
                    <a:pt x="1174" y="187"/>
                  </a:moveTo>
                  <a:lnTo>
                    <a:pt x="1174" y="171"/>
                  </a:lnTo>
                  <a:lnTo>
                    <a:pt x="102" y="172"/>
                  </a:lnTo>
                  <a:cubicBezTo>
                    <a:pt x="64" y="172"/>
                    <a:pt x="34" y="141"/>
                    <a:pt x="34" y="103"/>
                  </a:cubicBezTo>
                  <a:cubicBezTo>
                    <a:pt x="34" y="65"/>
                    <a:pt x="64" y="35"/>
                    <a:pt x="102" y="35"/>
                  </a:cubicBezTo>
                  <a:lnTo>
                    <a:pt x="1174" y="33"/>
                  </a:lnTo>
                  <a:cubicBezTo>
                    <a:pt x="1212" y="33"/>
                    <a:pt x="1242" y="64"/>
                    <a:pt x="1242" y="102"/>
                  </a:cubicBezTo>
                  <a:cubicBezTo>
                    <a:pt x="1242" y="140"/>
                    <a:pt x="1212" y="170"/>
                    <a:pt x="1174" y="171"/>
                  </a:cubicBezTo>
                  <a:lnTo>
                    <a:pt x="1174" y="187"/>
                  </a:lnTo>
                  <a:lnTo>
                    <a:pt x="1174" y="204"/>
                  </a:lnTo>
                  <a:cubicBezTo>
                    <a:pt x="1230" y="204"/>
                    <a:pt x="1276" y="158"/>
                    <a:pt x="1276" y="102"/>
                  </a:cubicBezTo>
                  <a:cubicBezTo>
                    <a:pt x="1275" y="46"/>
                    <a:pt x="1230" y="0"/>
                    <a:pt x="1174" y="0"/>
                  </a:cubicBezTo>
                  <a:lnTo>
                    <a:pt x="102" y="1"/>
                  </a:lnTo>
                  <a:cubicBezTo>
                    <a:pt x="46" y="1"/>
                    <a:pt x="0" y="47"/>
                    <a:pt x="0" y="103"/>
                  </a:cubicBezTo>
                  <a:cubicBezTo>
                    <a:pt x="0" y="159"/>
                    <a:pt x="46" y="205"/>
                    <a:pt x="102" y="205"/>
                  </a:cubicBezTo>
                  <a:lnTo>
                    <a:pt x="1174" y="204"/>
                  </a:lnTo>
                  <a:lnTo>
                    <a:pt x="1174" y="18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0" name="Freeform 195">
              <a:extLst>
                <a:ext uri="{FF2B5EF4-FFF2-40B4-BE49-F238E27FC236}">
                  <a16:creationId xmlns:a16="http://schemas.microsoft.com/office/drawing/2014/main" id="{C8775042-36C0-424F-94A8-0DB2CDC88C9F}"/>
                </a:ext>
              </a:extLst>
            </p:cNvPr>
            <p:cNvSpPr>
              <a:spLocks/>
            </p:cNvSpPr>
            <p:nvPr/>
          </p:nvSpPr>
          <p:spPr bwMode="auto">
            <a:xfrm>
              <a:off x="4270376" y="6494463"/>
              <a:ext cx="100013" cy="101600"/>
            </a:xfrm>
            <a:custGeom>
              <a:avLst/>
              <a:gdLst>
                <a:gd name="T0" fmla="*/ 468 w 485"/>
                <a:gd name="T1" fmla="*/ 461 h 496"/>
                <a:gd name="T2" fmla="*/ 34 w 485"/>
                <a:gd name="T3" fmla="*/ 462 h 496"/>
                <a:gd name="T4" fmla="*/ 33 w 485"/>
                <a:gd name="T5" fmla="*/ 264 h 496"/>
                <a:gd name="T6" fmla="*/ 77 w 485"/>
                <a:gd name="T7" fmla="*/ 183 h 496"/>
                <a:gd name="T8" fmla="*/ 77 w 485"/>
                <a:gd name="T9" fmla="*/ 183 h 496"/>
                <a:gd name="T10" fmla="*/ 141 w 485"/>
                <a:gd name="T11" fmla="*/ 141 h 496"/>
                <a:gd name="T12" fmla="*/ 141 w 485"/>
                <a:gd name="T13" fmla="*/ 141 h 496"/>
                <a:gd name="T14" fmla="*/ 189 w 485"/>
                <a:gd name="T15" fmla="*/ 51 h 496"/>
                <a:gd name="T16" fmla="*/ 189 w 485"/>
                <a:gd name="T17" fmla="*/ 46 h 496"/>
                <a:gd name="T18" fmla="*/ 173 w 485"/>
                <a:gd name="T19" fmla="*/ 46 h 496"/>
                <a:gd name="T20" fmla="*/ 160 w 485"/>
                <a:gd name="T21" fmla="*/ 57 h 496"/>
                <a:gd name="T22" fmla="*/ 242 w 485"/>
                <a:gd name="T23" fmla="*/ 98 h 496"/>
                <a:gd name="T24" fmla="*/ 325 w 485"/>
                <a:gd name="T25" fmla="*/ 57 h 496"/>
                <a:gd name="T26" fmla="*/ 312 w 485"/>
                <a:gd name="T27" fmla="*/ 46 h 496"/>
                <a:gd name="T28" fmla="*/ 295 w 485"/>
                <a:gd name="T29" fmla="*/ 46 h 496"/>
                <a:gd name="T30" fmla="*/ 295 w 485"/>
                <a:gd name="T31" fmla="*/ 51 h 496"/>
                <a:gd name="T32" fmla="*/ 343 w 485"/>
                <a:gd name="T33" fmla="*/ 141 h 496"/>
                <a:gd name="T34" fmla="*/ 408 w 485"/>
                <a:gd name="T35" fmla="*/ 183 h 496"/>
                <a:gd name="T36" fmla="*/ 408 w 485"/>
                <a:gd name="T37" fmla="*/ 183 h 496"/>
                <a:gd name="T38" fmla="*/ 452 w 485"/>
                <a:gd name="T39" fmla="*/ 264 h 496"/>
                <a:gd name="T40" fmla="*/ 452 w 485"/>
                <a:gd name="T41" fmla="*/ 292 h 496"/>
                <a:gd name="T42" fmla="*/ 485 w 485"/>
                <a:gd name="T43" fmla="*/ 292 h 496"/>
                <a:gd name="T44" fmla="*/ 485 w 485"/>
                <a:gd name="T45" fmla="*/ 264 h 496"/>
                <a:gd name="T46" fmla="*/ 426 w 485"/>
                <a:gd name="T47" fmla="*/ 155 h 496"/>
                <a:gd name="T48" fmla="*/ 426 w 485"/>
                <a:gd name="T49" fmla="*/ 155 h 496"/>
                <a:gd name="T50" fmla="*/ 362 w 485"/>
                <a:gd name="T51" fmla="*/ 113 h 496"/>
                <a:gd name="T52" fmla="*/ 329 w 485"/>
                <a:gd name="T53" fmla="*/ 51 h 496"/>
                <a:gd name="T54" fmla="*/ 329 w 485"/>
                <a:gd name="T55" fmla="*/ 46 h 496"/>
                <a:gd name="T56" fmla="*/ 329 w 485"/>
                <a:gd name="T57" fmla="*/ 0 h 496"/>
                <a:gd name="T58" fmla="*/ 299 w 485"/>
                <a:gd name="T59" fmla="*/ 35 h 496"/>
                <a:gd name="T60" fmla="*/ 242 w 485"/>
                <a:gd name="T61" fmla="*/ 64 h 496"/>
                <a:gd name="T62" fmla="*/ 185 w 485"/>
                <a:gd name="T63" fmla="*/ 35 h 496"/>
                <a:gd name="T64" fmla="*/ 156 w 485"/>
                <a:gd name="T65" fmla="*/ 1 h 496"/>
                <a:gd name="T66" fmla="*/ 156 w 485"/>
                <a:gd name="T67" fmla="*/ 51 h 496"/>
                <a:gd name="T68" fmla="*/ 123 w 485"/>
                <a:gd name="T69" fmla="*/ 113 h 496"/>
                <a:gd name="T70" fmla="*/ 123 w 485"/>
                <a:gd name="T71" fmla="*/ 113 h 496"/>
                <a:gd name="T72" fmla="*/ 59 w 485"/>
                <a:gd name="T73" fmla="*/ 155 h 496"/>
                <a:gd name="T74" fmla="*/ 59 w 485"/>
                <a:gd name="T75" fmla="*/ 155 h 496"/>
                <a:gd name="T76" fmla="*/ 0 w 485"/>
                <a:gd name="T77" fmla="*/ 264 h 496"/>
                <a:gd name="T78" fmla="*/ 0 w 485"/>
                <a:gd name="T79" fmla="*/ 496 h 496"/>
                <a:gd name="T80" fmla="*/ 468 w 485"/>
                <a:gd name="T81" fmla="*/ 494 h 496"/>
                <a:gd name="T82" fmla="*/ 468 w 485"/>
                <a:gd name="T83" fmla="*/ 46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96">
                  <a:moveTo>
                    <a:pt x="468" y="461"/>
                  </a:moveTo>
                  <a:lnTo>
                    <a:pt x="34" y="462"/>
                  </a:lnTo>
                  <a:lnTo>
                    <a:pt x="33" y="264"/>
                  </a:lnTo>
                  <a:cubicBezTo>
                    <a:pt x="33" y="231"/>
                    <a:pt x="50" y="201"/>
                    <a:pt x="77" y="183"/>
                  </a:cubicBezTo>
                  <a:lnTo>
                    <a:pt x="77" y="183"/>
                  </a:lnTo>
                  <a:lnTo>
                    <a:pt x="141" y="141"/>
                  </a:lnTo>
                  <a:lnTo>
                    <a:pt x="141" y="141"/>
                  </a:lnTo>
                  <a:cubicBezTo>
                    <a:pt x="171" y="121"/>
                    <a:pt x="189" y="87"/>
                    <a:pt x="189" y="51"/>
                  </a:cubicBezTo>
                  <a:lnTo>
                    <a:pt x="189" y="46"/>
                  </a:lnTo>
                  <a:lnTo>
                    <a:pt x="173" y="46"/>
                  </a:lnTo>
                  <a:lnTo>
                    <a:pt x="160" y="57"/>
                  </a:lnTo>
                  <a:cubicBezTo>
                    <a:pt x="181" y="82"/>
                    <a:pt x="210" y="98"/>
                    <a:pt x="242" y="98"/>
                  </a:cubicBezTo>
                  <a:cubicBezTo>
                    <a:pt x="275" y="98"/>
                    <a:pt x="304" y="82"/>
                    <a:pt x="325" y="57"/>
                  </a:cubicBezTo>
                  <a:lnTo>
                    <a:pt x="312" y="46"/>
                  </a:lnTo>
                  <a:lnTo>
                    <a:pt x="295" y="46"/>
                  </a:lnTo>
                  <a:lnTo>
                    <a:pt x="295" y="51"/>
                  </a:lnTo>
                  <a:cubicBezTo>
                    <a:pt x="295" y="87"/>
                    <a:pt x="313" y="121"/>
                    <a:pt x="343" y="141"/>
                  </a:cubicBezTo>
                  <a:lnTo>
                    <a:pt x="408" y="183"/>
                  </a:lnTo>
                  <a:lnTo>
                    <a:pt x="408" y="183"/>
                  </a:lnTo>
                  <a:cubicBezTo>
                    <a:pt x="435" y="201"/>
                    <a:pt x="451" y="231"/>
                    <a:pt x="452" y="264"/>
                  </a:cubicBezTo>
                  <a:lnTo>
                    <a:pt x="452" y="292"/>
                  </a:lnTo>
                  <a:lnTo>
                    <a:pt x="485" y="292"/>
                  </a:lnTo>
                  <a:lnTo>
                    <a:pt x="485" y="264"/>
                  </a:lnTo>
                  <a:cubicBezTo>
                    <a:pt x="485" y="220"/>
                    <a:pt x="463" y="179"/>
                    <a:pt x="426" y="155"/>
                  </a:cubicBezTo>
                  <a:lnTo>
                    <a:pt x="426" y="155"/>
                  </a:lnTo>
                  <a:lnTo>
                    <a:pt x="362" y="113"/>
                  </a:lnTo>
                  <a:cubicBezTo>
                    <a:pt x="341" y="99"/>
                    <a:pt x="329" y="76"/>
                    <a:pt x="329" y="51"/>
                  </a:cubicBezTo>
                  <a:lnTo>
                    <a:pt x="329" y="46"/>
                  </a:lnTo>
                  <a:lnTo>
                    <a:pt x="329" y="0"/>
                  </a:lnTo>
                  <a:lnTo>
                    <a:pt x="299" y="35"/>
                  </a:lnTo>
                  <a:cubicBezTo>
                    <a:pt x="283" y="54"/>
                    <a:pt x="263" y="64"/>
                    <a:pt x="242" y="64"/>
                  </a:cubicBezTo>
                  <a:cubicBezTo>
                    <a:pt x="221" y="64"/>
                    <a:pt x="202" y="54"/>
                    <a:pt x="185" y="35"/>
                  </a:cubicBezTo>
                  <a:lnTo>
                    <a:pt x="156" y="1"/>
                  </a:lnTo>
                  <a:lnTo>
                    <a:pt x="156" y="51"/>
                  </a:lnTo>
                  <a:cubicBezTo>
                    <a:pt x="156" y="76"/>
                    <a:pt x="143" y="99"/>
                    <a:pt x="123" y="113"/>
                  </a:cubicBezTo>
                  <a:lnTo>
                    <a:pt x="123" y="113"/>
                  </a:lnTo>
                  <a:lnTo>
                    <a:pt x="59" y="155"/>
                  </a:lnTo>
                  <a:lnTo>
                    <a:pt x="59" y="155"/>
                  </a:lnTo>
                  <a:cubicBezTo>
                    <a:pt x="22" y="179"/>
                    <a:pt x="0" y="220"/>
                    <a:pt x="0" y="264"/>
                  </a:cubicBezTo>
                  <a:lnTo>
                    <a:pt x="0" y="496"/>
                  </a:lnTo>
                  <a:lnTo>
                    <a:pt x="468" y="494"/>
                  </a:lnTo>
                  <a:lnTo>
                    <a:pt x="468" y="461"/>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1" name="Freeform 196">
              <a:extLst>
                <a:ext uri="{FF2B5EF4-FFF2-40B4-BE49-F238E27FC236}">
                  <a16:creationId xmlns:a16="http://schemas.microsoft.com/office/drawing/2014/main" id="{1096A510-444A-4D6B-A2A8-1496FBE8E68C}"/>
                </a:ext>
              </a:extLst>
            </p:cNvPr>
            <p:cNvSpPr>
              <a:spLocks/>
            </p:cNvSpPr>
            <p:nvPr/>
          </p:nvSpPr>
          <p:spPr bwMode="auto">
            <a:xfrm>
              <a:off x="4294188" y="6477000"/>
              <a:ext cx="50800" cy="38100"/>
            </a:xfrm>
            <a:custGeom>
              <a:avLst/>
              <a:gdLst>
                <a:gd name="T0" fmla="*/ 231 w 248"/>
                <a:gd name="T1" fmla="*/ 17 h 180"/>
                <a:gd name="T2" fmla="*/ 215 w 248"/>
                <a:gd name="T3" fmla="*/ 17 h 180"/>
                <a:gd name="T4" fmla="*/ 181 w 248"/>
                <a:gd name="T5" fmla="*/ 117 h 180"/>
                <a:gd name="T6" fmla="*/ 181 w 248"/>
                <a:gd name="T7" fmla="*/ 117 h 180"/>
                <a:gd name="T8" fmla="*/ 124 w 248"/>
                <a:gd name="T9" fmla="*/ 146 h 180"/>
                <a:gd name="T10" fmla="*/ 67 w 248"/>
                <a:gd name="T11" fmla="*/ 117 h 180"/>
                <a:gd name="T12" fmla="*/ 67 w 248"/>
                <a:gd name="T13" fmla="*/ 117 h 180"/>
                <a:gd name="T14" fmla="*/ 34 w 248"/>
                <a:gd name="T15" fmla="*/ 17 h 180"/>
                <a:gd name="T16" fmla="*/ 17 w 248"/>
                <a:gd name="T17" fmla="*/ 17 h 180"/>
                <a:gd name="T18" fmla="*/ 17 w 248"/>
                <a:gd name="T19" fmla="*/ 33 h 180"/>
                <a:gd name="T20" fmla="*/ 231 w 248"/>
                <a:gd name="T21" fmla="*/ 33 h 180"/>
                <a:gd name="T22" fmla="*/ 231 w 248"/>
                <a:gd name="T23" fmla="*/ 17 h 180"/>
                <a:gd name="T24" fmla="*/ 215 w 248"/>
                <a:gd name="T25" fmla="*/ 17 h 180"/>
                <a:gd name="T26" fmla="*/ 231 w 248"/>
                <a:gd name="T27" fmla="*/ 17 h 180"/>
                <a:gd name="T28" fmla="*/ 231 w 248"/>
                <a:gd name="T29" fmla="*/ 0 h 180"/>
                <a:gd name="T30" fmla="*/ 0 w 248"/>
                <a:gd name="T31" fmla="*/ 0 h 180"/>
                <a:gd name="T32" fmla="*/ 0 w 248"/>
                <a:gd name="T33" fmla="*/ 17 h 180"/>
                <a:gd name="T34" fmla="*/ 42 w 248"/>
                <a:gd name="T35" fmla="*/ 139 h 180"/>
                <a:gd name="T36" fmla="*/ 42 w 248"/>
                <a:gd name="T37" fmla="*/ 139 h 180"/>
                <a:gd name="T38" fmla="*/ 124 w 248"/>
                <a:gd name="T39" fmla="*/ 180 h 180"/>
                <a:gd name="T40" fmla="*/ 207 w 248"/>
                <a:gd name="T41" fmla="*/ 139 h 180"/>
                <a:gd name="T42" fmla="*/ 207 w 248"/>
                <a:gd name="T43" fmla="*/ 139 h 180"/>
                <a:gd name="T44" fmla="*/ 248 w 248"/>
                <a:gd name="T45" fmla="*/ 17 h 180"/>
                <a:gd name="T46" fmla="*/ 248 w 248"/>
                <a:gd name="T47" fmla="*/ 0 h 180"/>
                <a:gd name="T48" fmla="*/ 231 w 248"/>
                <a:gd name="T49" fmla="*/ 0 h 180"/>
                <a:gd name="T50" fmla="*/ 231 w 248"/>
                <a:gd name="T51"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180">
                  <a:moveTo>
                    <a:pt x="231" y="17"/>
                  </a:moveTo>
                  <a:lnTo>
                    <a:pt x="215" y="17"/>
                  </a:lnTo>
                  <a:cubicBezTo>
                    <a:pt x="215" y="58"/>
                    <a:pt x="201" y="94"/>
                    <a:pt x="181" y="117"/>
                  </a:cubicBezTo>
                  <a:lnTo>
                    <a:pt x="181" y="117"/>
                  </a:lnTo>
                  <a:cubicBezTo>
                    <a:pt x="165" y="136"/>
                    <a:pt x="145" y="146"/>
                    <a:pt x="124" y="146"/>
                  </a:cubicBezTo>
                  <a:cubicBezTo>
                    <a:pt x="103" y="146"/>
                    <a:pt x="84" y="136"/>
                    <a:pt x="67" y="117"/>
                  </a:cubicBezTo>
                  <a:lnTo>
                    <a:pt x="67" y="117"/>
                  </a:lnTo>
                  <a:cubicBezTo>
                    <a:pt x="47" y="94"/>
                    <a:pt x="34" y="58"/>
                    <a:pt x="34" y="17"/>
                  </a:cubicBezTo>
                  <a:lnTo>
                    <a:pt x="17" y="17"/>
                  </a:lnTo>
                  <a:lnTo>
                    <a:pt x="17" y="33"/>
                  </a:lnTo>
                  <a:lnTo>
                    <a:pt x="231" y="33"/>
                  </a:lnTo>
                  <a:lnTo>
                    <a:pt x="231" y="17"/>
                  </a:lnTo>
                  <a:lnTo>
                    <a:pt x="215" y="17"/>
                  </a:lnTo>
                  <a:lnTo>
                    <a:pt x="231" y="17"/>
                  </a:lnTo>
                  <a:lnTo>
                    <a:pt x="231" y="0"/>
                  </a:lnTo>
                  <a:lnTo>
                    <a:pt x="0" y="0"/>
                  </a:lnTo>
                  <a:lnTo>
                    <a:pt x="0" y="17"/>
                  </a:lnTo>
                  <a:cubicBezTo>
                    <a:pt x="0" y="65"/>
                    <a:pt x="16" y="109"/>
                    <a:pt x="42" y="139"/>
                  </a:cubicBezTo>
                  <a:lnTo>
                    <a:pt x="42" y="139"/>
                  </a:lnTo>
                  <a:cubicBezTo>
                    <a:pt x="63" y="164"/>
                    <a:pt x="92" y="180"/>
                    <a:pt x="124" y="180"/>
                  </a:cubicBezTo>
                  <a:cubicBezTo>
                    <a:pt x="157" y="180"/>
                    <a:pt x="186" y="164"/>
                    <a:pt x="207" y="139"/>
                  </a:cubicBezTo>
                  <a:lnTo>
                    <a:pt x="207" y="139"/>
                  </a:lnTo>
                  <a:cubicBezTo>
                    <a:pt x="233" y="108"/>
                    <a:pt x="248" y="65"/>
                    <a:pt x="248" y="17"/>
                  </a:cubicBezTo>
                  <a:lnTo>
                    <a:pt x="248" y="0"/>
                  </a:lnTo>
                  <a:lnTo>
                    <a:pt x="231" y="0"/>
                  </a:lnTo>
                  <a:lnTo>
                    <a:pt x="231"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2" name="Freeform 197">
              <a:extLst>
                <a:ext uri="{FF2B5EF4-FFF2-40B4-BE49-F238E27FC236}">
                  <a16:creationId xmlns:a16="http://schemas.microsoft.com/office/drawing/2014/main" id="{D1087C96-1D50-4EC7-A943-C12C006FB3AC}"/>
                </a:ext>
              </a:extLst>
            </p:cNvPr>
            <p:cNvSpPr>
              <a:spLocks/>
            </p:cNvSpPr>
            <p:nvPr/>
          </p:nvSpPr>
          <p:spPr bwMode="auto">
            <a:xfrm>
              <a:off x="4284663" y="6440488"/>
              <a:ext cx="69850" cy="44450"/>
            </a:xfrm>
            <a:custGeom>
              <a:avLst/>
              <a:gdLst>
                <a:gd name="T0" fmla="*/ 326 w 342"/>
                <a:gd name="T1" fmla="*/ 196 h 213"/>
                <a:gd name="T2" fmla="*/ 326 w 342"/>
                <a:gd name="T3" fmla="*/ 179 h 213"/>
                <a:gd name="T4" fmla="*/ 16 w 342"/>
                <a:gd name="T5" fmla="*/ 179 h 213"/>
                <a:gd name="T6" fmla="*/ 16 w 342"/>
                <a:gd name="T7" fmla="*/ 196 h 213"/>
                <a:gd name="T8" fmla="*/ 33 w 342"/>
                <a:gd name="T9" fmla="*/ 196 h 213"/>
                <a:gd name="T10" fmla="*/ 74 w 342"/>
                <a:gd name="T11" fmla="*/ 80 h 213"/>
                <a:gd name="T12" fmla="*/ 171 w 342"/>
                <a:gd name="T13" fmla="*/ 34 h 213"/>
                <a:gd name="T14" fmla="*/ 268 w 342"/>
                <a:gd name="T15" fmla="*/ 80 h 213"/>
                <a:gd name="T16" fmla="*/ 309 w 342"/>
                <a:gd name="T17" fmla="*/ 196 h 213"/>
                <a:gd name="T18" fmla="*/ 326 w 342"/>
                <a:gd name="T19" fmla="*/ 196 h 213"/>
                <a:gd name="T20" fmla="*/ 326 w 342"/>
                <a:gd name="T21" fmla="*/ 179 h 213"/>
                <a:gd name="T22" fmla="*/ 326 w 342"/>
                <a:gd name="T23" fmla="*/ 196 h 213"/>
                <a:gd name="T24" fmla="*/ 342 w 342"/>
                <a:gd name="T25" fmla="*/ 196 h 213"/>
                <a:gd name="T26" fmla="*/ 293 w 342"/>
                <a:gd name="T27" fmla="*/ 58 h 213"/>
                <a:gd name="T28" fmla="*/ 171 w 342"/>
                <a:gd name="T29" fmla="*/ 0 h 213"/>
                <a:gd name="T30" fmla="*/ 49 w 342"/>
                <a:gd name="T31" fmla="*/ 58 h 213"/>
                <a:gd name="T32" fmla="*/ 0 w 342"/>
                <a:gd name="T33" fmla="*/ 196 h 213"/>
                <a:gd name="T34" fmla="*/ 0 w 342"/>
                <a:gd name="T35" fmla="*/ 213 h 213"/>
                <a:gd name="T36" fmla="*/ 342 w 342"/>
                <a:gd name="T37" fmla="*/ 212 h 213"/>
                <a:gd name="T38" fmla="*/ 342 w 342"/>
                <a:gd name="T39" fmla="*/ 196 h 213"/>
                <a:gd name="T40" fmla="*/ 326 w 342"/>
                <a:gd name="T41"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2" h="213">
                  <a:moveTo>
                    <a:pt x="326" y="196"/>
                  </a:moveTo>
                  <a:lnTo>
                    <a:pt x="326" y="179"/>
                  </a:lnTo>
                  <a:lnTo>
                    <a:pt x="16" y="179"/>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326" y="196"/>
                  </a:lnTo>
                  <a:lnTo>
                    <a:pt x="342" y="196"/>
                  </a:lnTo>
                  <a:cubicBezTo>
                    <a:pt x="342" y="142"/>
                    <a:pt x="324" y="94"/>
                    <a:pt x="293" y="58"/>
                  </a:cubicBezTo>
                  <a:cubicBezTo>
                    <a:pt x="262" y="23"/>
                    <a:pt x="219" y="0"/>
                    <a:pt x="171" y="0"/>
                  </a:cubicBezTo>
                  <a:cubicBezTo>
                    <a:pt x="123" y="0"/>
                    <a:pt x="80" y="23"/>
                    <a:pt x="49" y="58"/>
                  </a:cubicBezTo>
                  <a:cubicBezTo>
                    <a:pt x="18" y="94"/>
                    <a:pt x="0" y="143"/>
                    <a:pt x="0" y="196"/>
                  </a:cubicBezTo>
                  <a:lnTo>
                    <a:pt x="0" y="213"/>
                  </a:lnTo>
                  <a:lnTo>
                    <a:pt x="342" y="212"/>
                  </a:lnTo>
                  <a:lnTo>
                    <a:pt x="342" y="196"/>
                  </a:lnTo>
                  <a:lnTo>
                    <a:pt x="32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3" name="Freeform 198">
              <a:extLst>
                <a:ext uri="{FF2B5EF4-FFF2-40B4-BE49-F238E27FC236}">
                  <a16:creationId xmlns:a16="http://schemas.microsoft.com/office/drawing/2014/main" id="{15C390DC-8AE1-4ADD-AF82-D7D166DBD953}"/>
                </a:ext>
              </a:extLst>
            </p:cNvPr>
            <p:cNvSpPr>
              <a:spLocks/>
            </p:cNvSpPr>
            <p:nvPr/>
          </p:nvSpPr>
          <p:spPr bwMode="auto">
            <a:xfrm>
              <a:off x="43164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4" name="Freeform 199">
              <a:extLst>
                <a:ext uri="{FF2B5EF4-FFF2-40B4-BE49-F238E27FC236}">
                  <a16:creationId xmlns:a16="http://schemas.microsoft.com/office/drawing/2014/main" id="{07C8C20E-5367-4235-8353-7A56BFE1F347}"/>
                </a:ext>
              </a:extLst>
            </p:cNvPr>
            <p:cNvSpPr>
              <a:spLocks/>
            </p:cNvSpPr>
            <p:nvPr/>
          </p:nvSpPr>
          <p:spPr bwMode="auto">
            <a:xfrm>
              <a:off x="4292601" y="6535738"/>
              <a:ext cx="53975" cy="60325"/>
            </a:xfrm>
            <a:custGeom>
              <a:avLst/>
              <a:gdLst>
                <a:gd name="T0" fmla="*/ 187 w 264"/>
                <a:gd name="T1" fmla="*/ 260 h 293"/>
                <a:gd name="T2" fmla="*/ 35 w 264"/>
                <a:gd name="T3" fmla="*/ 260 h 293"/>
                <a:gd name="T4" fmla="*/ 45 w 264"/>
                <a:gd name="T5" fmla="*/ 57 h 293"/>
                <a:gd name="T6" fmla="*/ 45 w 264"/>
                <a:gd name="T7" fmla="*/ 56 h 293"/>
                <a:gd name="T8" fmla="*/ 68 w 264"/>
                <a:gd name="T9" fmla="*/ 33 h 293"/>
                <a:gd name="T10" fmla="*/ 203 w 264"/>
                <a:gd name="T11" fmla="*/ 33 h 293"/>
                <a:gd name="T12" fmla="*/ 226 w 264"/>
                <a:gd name="T13" fmla="*/ 56 h 293"/>
                <a:gd name="T14" fmla="*/ 226 w 264"/>
                <a:gd name="T15" fmla="*/ 57 h 293"/>
                <a:gd name="T16" fmla="*/ 230 w 264"/>
                <a:gd name="T17" fmla="*/ 147 h 293"/>
                <a:gd name="T18" fmla="*/ 264 w 264"/>
                <a:gd name="T19" fmla="*/ 146 h 293"/>
                <a:gd name="T20" fmla="*/ 259 w 264"/>
                <a:gd name="T21" fmla="*/ 55 h 293"/>
                <a:gd name="T22" fmla="*/ 243 w 264"/>
                <a:gd name="T23" fmla="*/ 56 h 293"/>
                <a:gd name="T24" fmla="*/ 259 w 264"/>
                <a:gd name="T25" fmla="*/ 56 h 293"/>
                <a:gd name="T26" fmla="*/ 203 w 264"/>
                <a:gd name="T27" fmla="*/ 0 h 293"/>
                <a:gd name="T28" fmla="*/ 68 w 264"/>
                <a:gd name="T29" fmla="*/ 0 h 293"/>
                <a:gd name="T30" fmla="*/ 11 w 264"/>
                <a:gd name="T31" fmla="*/ 56 h 293"/>
                <a:gd name="T32" fmla="*/ 28 w 264"/>
                <a:gd name="T33" fmla="*/ 56 h 293"/>
                <a:gd name="T34" fmla="*/ 12 w 264"/>
                <a:gd name="T35" fmla="*/ 55 h 293"/>
                <a:gd name="T36" fmla="*/ 0 w 264"/>
                <a:gd name="T37" fmla="*/ 293 h 293"/>
                <a:gd name="T38" fmla="*/ 187 w 264"/>
                <a:gd name="T39" fmla="*/ 293 h 293"/>
                <a:gd name="T40" fmla="*/ 187 w 264"/>
                <a:gd name="T41" fmla="*/ 26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293">
                  <a:moveTo>
                    <a:pt x="187" y="260"/>
                  </a:moveTo>
                  <a:lnTo>
                    <a:pt x="35" y="260"/>
                  </a:lnTo>
                  <a:lnTo>
                    <a:pt x="45" y="57"/>
                  </a:lnTo>
                  <a:lnTo>
                    <a:pt x="45" y="56"/>
                  </a:lnTo>
                  <a:cubicBezTo>
                    <a:pt x="45" y="43"/>
                    <a:pt x="55" y="33"/>
                    <a:pt x="68" y="33"/>
                  </a:cubicBezTo>
                  <a:lnTo>
                    <a:pt x="203" y="33"/>
                  </a:lnTo>
                  <a:cubicBezTo>
                    <a:pt x="216" y="33"/>
                    <a:pt x="226" y="43"/>
                    <a:pt x="226" y="56"/>
                  </a:cubicBezTo>
                  <a:lnTo>
                    <a:pt x="226" y="57"/>
                  </a:lnTo>
                  <a:lnTo>
                    <a:pt x="230" y="147"/>
                  </a:lnTo>
                  <a:lnTo>
                    <a:pt x="264" y="146"/>
                  </a:lnTo>
                  <a:lnTo>
                    <a:pt x="259" y="55"/>
                  </a:lnTo>
                  <a:lnTo>
                    <a:pt x="243" y="56"/>
                  </a:lnTo>
                  <a:lnTo>
                    <a:pt x="259" y="56"/>
                  </a:lnTo>
                  <a:cubicBezTo>
                    <a:pt x="259" y="25"/>
                    <a:pt x="234" y="0"/>
                    <a:pt x="203" y="0"/>
                  </a:cubicBezTo>
                  <a:lnTo>
                    <a:pt x="68" y="0"/>
                  </a:lnTo>
                  <a:cubicBezTo>
                    <a:pt x="37" y="0"/>
                    <a:pt x="11" y="25"/>
                    <a:pt x="11" y="56"/>
                  </a:cubicBezTo>
                  <a:lnTo>
                    <a:pt x="28" y="56"/>
                  </a:lnTo>
                  <a:lnTo>
                    <a:pt x="12" y="55"/>
                  </a:lnTo>
                  <a:lnTo>
                    <a:pt x="0" y="293"/>
                  </a:lnTo>
                  <a:lnTo>
                    <a:pt x="187" y="293"/>
                  </a:lnTo>
                  <a:lnTo>
                    <a:pt x="187" y="26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5" name="Freeform 200">
              <a:extLst>
                <a:ext uri="{FF2B5EF4-FFF2-40B4-BE49-F238E27FC236}">
                  <a16:creationId xmlns:a16="http://schemas.microsoft.com/office/drawing/2014/main" id="{0D1ECB08-8892-4071-B5E7-BD09A8966E49}"/>
                </a:ext>
              </a:extLst>
            </p:cNvPr>
            <p:cNvSpPr>
              <a:spLocks/>
            </p:cNvSpPr>
            <p:nvPr/>
          </p:nvSpPr>
          <p:spPr bwMode="auto">
            <a:xfrm>
              <a:off x="4292601" y="6521450"/>
              <a:ext cx="14288" cy="19050"/>
            </a:xfrm>
            <a:custGeom>
              <a:avLst/>
              <a:gdLst>
                <a:gd name="T0" fmla="*/ 0 w 71"/>
                <a:gd name="T1" fmla="*/ 15 h 99"/>
                <a:gd name="T2" fmla="*/ 41 w 71"/>
                <a:gd name="T3" fmla="*/ 99 h 99"/>
                <a:gd name="T4" fmla="*/ 71 w 71"/>
                <a:gd name="T5" fmla="*/ 84 h 99"/>
                <a:gd name="T6" fmla="*/ 30 w 71"/>
                <a:gd name="T7" fmla="*/ 0 h 99"/>
              </a:gdLst>
              <a:ahLst/>
              <a:cxnLst>
                <a:cxn ang="0">
                  <a:pos x="T0" y="T1"/>
                </a:cxn>
                <a:cxn ang="0">
                  <a:pos x="T2" y="T3"/>
                </a:cxn>
                <a:cxn ang="0">
                  <a:pos x="T4" y="T5"/>
                </a:cxn>
                <a:cxn ang="0">
                  <a:pos x="T6" y="T7"/>
                </a:cxn>
              </a:cxnLst>
              <a:rect l="0" t="0" r="r" b="b"/>
              <a:pathLst>
                <a:path w="71" h="99">
                  <a:moveTo>
                    <a:pt x="0" y="15"/>
                  </a:moveTo>
                  <a:lnTo>
                    <a:pt x="41" y="99"/>
                  </a:lnTo>
                  <a:lnTo>
                    <a:pt x="71"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6" name="Freeform 201">
              <a:extLst>
                <a:ext uri="{FF2B5EF4-FFF2-40B4-BE49-F238E27FC236}">
                  <a16:creationId xmlns:a16="http://schemas.microsoft.com/office/drawing/2014/main" id="{8C7AACD0-405D-4E2A-A6BC-826F89C46B7A}"/>
                </a:ext>
              </a:extLst>
            </p:cNvPr>
            <p:cNvSpPr>
              <a:spLocks/>
            </p:cNvSpPr>
            <p:nvPr/>
          </p:nvSpPr>
          <p:spPr bwMode="auto">
            <a:xfrm>
              <a:off x="4332288" y="6521450"/>
              <a:ext cx="14288" cy="19050"/>
            </a:xfrm>
            <a:custGeom>
              <a:avLst/>
              <a:gdLst>
                <a:gd name="T0" fmla="*/ 42 w 72"/>
                <a:gd name="T1" fmla="*/ 0 h 99"/>
                <a:gd name="T2" fmla="*/ 0 w 72"/>
                <a:gd name="T3" fmla="*/ 84 h 99"/>
                <a:gd name="T4" fmla="*/ 30 w 72"/>
                <a:gd name="T5" fmla="*/ 99 h 99"/>
                <a:gd name="T6" fmla="*/ 72 w 72"/>
                <a:gd name="T7" fmla="*/ 14 h 99"/>
              </a:gdLst>
              <a:ahLst/>
              <a:cxnLst>
                <a:cxn ang="0">
                  <a:pos x="T0" y="T1"/>
                </a:cxn>
                <a:cxn ang="0">
                  <a:pos x="T2" y="T3"/>
                </a:cxn>
                <a:cxn ang="0">
                  <a:pos x="T4" y="T5"/>
                </a:cxn>
                <a:cxn ang="0">
                  <a:pos x="T6" y="T7"/>
                </a:cxn>
              </a:cxnLst>
              <a:rect l="0" t="0" r="r" b="b"/>
              <a:pathLst>
                <a:path w="72" h="99">
                  <a:moveTo>
                    <a:pt x="42" y="0"/>
                  </a:moveTo>
                  <a:lnTo>
                    <a:pt x="0" y="84"/>
                  </a:lnTo>
                  <a:lnTo>
                    <a:pt x="30" y="99"/>
                  </a:lnTo>
                  <a:lnTo>
                    <a:pt x="72" y="1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7" name="Freeform 202">
              <a:extLst>
                <a:ext uri="{FF2B5EF4-FFF2-40B4-BE49-F238E27FC236}">
                  <a16:creationId xmlns:a16="http://schemas.microsoft.com/office/drawing/2014/main" id="{A0CC9434-D7AB-45C3-9990-51B50676C041}"/>
                </a:ext>
              </a:extLst>
            </p:cNvPr>
            <p:cNvSpPr>
              <a:spLocks/>
            </p:cNvSpPr>
            <p:nvPr/>
          </p:nvSpPr>
          <p:spPr bwMode="auto">
            <a:xfrm>
              <a:off x="4316413" y="6562725"/>
              <a:ext cx="79375" cy="33338"/>
            </a:xfrm>
            <a:custGeom>
              <a:avLst/>
              <a:gdLst>
                <a:gd name="T0" fmla="*/ 48 w 50"/>
                <a:gd name="T1" fmla="*/ 19 h 21"/>
                <a:gd name="T2" fmla="*/ 48 w 50"/>
                <a:gd name="T3" fmla="*/ 17 h 21"/>
                <a:gd name="T4" fmla="*/ 4 w 50"/>
                <a:gd name="T5" fmla="*/ 17 h 21"/>
                <a:gd name="T6" fmla="*/ 4 w 50"/>
                <a:gd name="T7" fmla="*/ 4 h 21"/>
                <a:gd name="T8" fmla="*/ 46 w 50"/>
                <a:gd name="T9" fmla="*/ 4 h 21"/>
                <a:gd name="T10" fmla="*/ 46 w 50"/>
                <a:gd name="T11" fmla="*/ 19 h 21"/>
                <a:gd name="T12" fmla="*/ 48 w 50"/>
                <a:gd name="T13" fmla="*/ 19 h 21"/>
                <a:gd name="T14" fmla="*/ 48 w 50"/>
                <a:gd name="T15" fmla="*/ 17 h 21"/>
                <a:gd name="T16" fmla="*/ 48 w 50"/>
                <a:gd name="T17" fmla="*/ 19 h 21"/>
                <a:gd name="T18" fmla="*/ 50 w 50"/>
                <a:gd name="T19" fmla="*/ 19 h 21"/>
                <a:gd name="T20" fmla="*/ 50 w 50"/>
                <a:gd name="T21" fmla="*/ 0 h 21"/>
                <a:gd name="T22" fmla="*/ 0 w 50"/>
                <a:gd name="T23" fmla="*/ 0 h 21"/>
                <a:gd name="T24" fmla="*/ 0 w 50"/>
                <a:gd name="T25" fmla="*/ 21 h 21"/>
                <a:gd name="T26" fmla="*/ 50 w 50"/>
                <a:gd name="T27" fmla="*/ 21 h 21"/>
                <a:gd name="T28" fmla="*/ 50 w 50"/>
                <a:gd name="T29" fmla="*/ 19 h 21"/>
                <a:gd name="T30" fmla="*/ 48 w 50"/>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21">
                  <a:moveTo>
                    <a:pt x="48" y="19"/>
                  </a:moveTo>
                  <a:lnTo>
                    <a:pt x="48" y="17"/>
                  </a:lnTo>
                  <a:lnTo>
                    <a:pt x="4" y="17"/>
                  </a:lnTo>
                  <a:lnTo>
                    <a:pt x="4" y="4"/>
                  </a:lnTo>
                  <a:lnTo>
                    <a:pt x="46" y="4"/>
                  </a:lnTo>
                  <a:lnTo>
                    <a:pt x="46" y="19"/>
                  </a:lnTo>
                  <a:lnTo>
                    <a:pt x="48" y="19"/>
                  </a:lnTo>
                  <a:lnTo>
                    <a:pt x="48" y="17"/>
                  </a:lnTo>
                  <a:lnTo>
                    <a:pt x="48" y="19"/>
                  </a:lnTo>
                  <a:lnTo>
                    <a:pt x="50" y="19"/>
                  </a:lnTo>
                  <a:lnTo>
                    <a:pt x="50" y="0"/>
                  </a:lnTo>
                  <a:lnTo>
                    <a:pt x="0" y="0"/>
                  </a:lnTo>
                  <a:lnTo>
                    <a:pt x="0" y="21"/>
                  </a:lnTo>
                  <a:lnTo>
                    <a:pt x="50" y="21"/>
                  </a:lnTo>
                  <a:lnTo>
                    <a:pt x="50" y="19"/>
                  </a:lnTo>
                  <a:lnTo>
                    <a:pt x="48" y="19"/>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8" name="Freeform 203">
              <a:extLst>
                <a:ext uri="{FF2B5EF4-FFF2-40B4-BE49-F238E27FC236}">
                  <a16:creationId xmlns:a16="http://schemas.microsoft.com/office/drawing/2014/main" id="{FBC6FCE6-FE69-49B8-A912-9315F3D2C936}"/>
                </a:ext>
              </a:extLst>
            </p:cNvPr>
            <p:cNvSpPr>
              <a:spLocks/>
            </p:cNvSpPr>
            <p:nvPr/>
          </p:nvSpPr>
          <p:spPr bwMode="auto">
            <a:xfrm>
              <a:off x="4422776" y="6551613"/>
              <a:ext cx="50800" cy="44450"/>
            </a:xfrm>
            <a:custGeom>
              <a:avLst/>
              <a:gdLst>
                <a:gd name="T0" fmla="*/ 30 w 32"/>
                <a:gd name="T1" fmla="*/ 26 h 28"/>
                <a:gd name="T2" fmla="*/ 30 w 32"/>
                <a:gd name="T3" fmla="*/ 24 h 28"/>
                <a:gd name="T4" fmla="*/ 4 w 32"/>
                <a:gd name="T5" fmla="*/ 24 h 28"/>
                <a:gd name="T6" fmla="*/ 4 w 32"/>
                <a:gd name="T7" fmla="*/ 5 h 28"/>
                <a:gd name="T8" fmla="*/ 28 w 32"/>
                <a:gd name="T9" fmla="*/ 5 h 28"/>
                <a:gd name="T10" fmla="*/ 28 w 32"/>
                <a:gd name="T11" fmla="*/ 26 h 28"/>
                <a:gd name="T12" fmla="*/ 30 w 32"/>
                <a:gd name="T13" fmla="*/ 26 h 28"/>
                <a:gd name="T14" fmla="*/ 30 w 32"/>
                <a:gd name="T15" fmla="*/ 24 h 28"/>
                <a:gd name="T16" fmla="*/ 30 w 32"/>
                <a:gd name="T17" fmla="*/ 26 h 28"/>
                <a:gd name="T18" fmla="*/ 32 w 32"/>
                <a:gd name="T19" fmla="*/ 26 h 28"/>
                <a:gd name="T20" fmla="*/ 32 w 32"/>
                <a:gd name="T21" fmla="*/ 0 h 28"/>
                <a:gd name="T22" fmla="*/ 0 w 32"/>
                <a:gd name="T23" fmla="*/ 0 h 28"/>
                <a:gd name="T24" fmla="*/ 0 w 32"/>
                <a:gd name="T25" fmla="*/ 28 h 28"/>
                <a:gd name="T26" fmla="*/ 32 w 32"/>
                <a:gd name="T27" fmla="*/ 28 h 28"/>
                <a:gd name="T28" fmla="*/ 32 w 32"/>
                <a:gd name="T29" fmla="*/ 26 h 28"/>
                <a:gd name="T30" fmla="*/ 30 w 32"/>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8">
                  <a:moveTo>
                    <a:pt x="30" y="26"/>
                  </a:moveTo>
                  <a:lnTo>
                    <a:pt x="30" y="24"/>
                  </a:lnTo>
                  <a:lnTo>
                    <a:pt x="4" y="24"/>
                  </a:lnTo>
                  <a:lnTo>
                    <a:pt x="4" y="5"/>
                  </a:lnTo>
                  <a:lnTo>
                    <a:pt x="28" y="5"/>
                  </a:lnTo>
                  <a:lnTo>
                    <a:pt x="28" y="26"/>
                  </a:lnTo>
                  <a:lnTo>
                    <a:pt x="30" y="26"/>
                  </a:lnTo>
                  <a:lnTo>
                    <a:pt x="30" y="24"/>
                  </a:lnTo>
                  <a:lnTo>
                    <a:pt x="30" y="26"/>
                  </a:lnTo>
                  <a:lnTo>
                    <a:pt x="32" y="26"/>
                  </a:lnTo>
                  <a:lnTo>
                    <a:pt x="32" y="0"/>
                  </a:lnTo>
                  <a:lnTo>
                    <a:pt x="0" y="0"/>
                  </a:lnTo>
                  <a:lnTo>
                    <a:pt x="0" y="28"/>
                  </a:lnTo>
                  <a:lnTo>
                    <a:pt x="32" y="28"/>
                  </a:lnTo>
                  <a:lnTo>
                    <a:pt x="32" y="26"/>
                  </a:lnTo>
                  <a:lnTo>
                    <a:pt x="30" y="2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9" name="Freeform 204">
              <a:extLst>
                <a:ext uri="{FF2B5EF4-FFF2-40B4-BE49-F238E27FC236}">
                  <a16:creationId xmlns:a16="http://schemas.microsoft.com/office/drawing/2014/main" id="{61EA00F1-A42B-42A6-8C4B-6B6B8CB5D2D8}"/>
                </a:ext>
              </a:extLst>
            </p:cNvPr>
            <p:cNvSpPr>
              <a:spLocks/>
            </p:cNvSpPr>
            <p:nvPr/>
          </p:nvSpPr>
          <p:spPr bwMode="auto">
            <a:xfrm>
              <a:off x="4292601" y="6627813"/>
              <a:ext cx="55563" cy="74613"/>
            </a:xfrm>
            <a:custGeom>
              <a:avLst/>
              <a:gdLst>
                <a:gd name="T0" fmla="*/ 0 w 35"/>
                <a:gd name="T1" fmla="*/ 0 h 47"/>
                <a:gd name="T2" fmla="*/ 0 w 35"/>
                <a:gd name="T3" fmla="*/ 47 h 47"/>
                <a:gd name="T4" fmla="*/ 35 w 35"/>
                <a:gd name="T5" fmla="*/ 47 h 47"/>
                <a:gd name="T6" fmla="*/ 35 w 35"/>
                <a:gd name="T7" fmla="*/ 0 h 47"/>
                <a:gd name="T8" fmla="*/ 30 w 35"/>
                <a:gd name="T9" fmla="*/ 0 h 47"/>
                <a:gd name="T10" fmla="*/ 30 w 35"/>
                <a:gd name="T11" fmla="*/ 43 h 47"/>
                <a:gd name="T12" fmla="*/ 4 w 35"/>
                <a:gd name="T13" fmla="*/ 43 h 47"/>
                <a:gd name="T14" fmla="*/ 4 w 35"/>
                <a:gd name="T15" fmla="*/ 0 h 47"/>
                <a:gd name="T16" fmla="*/ 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0" y="0"/>
                  </a:moveTo>
                  <a:lnTo>
                    <a:pt x="0" y="47"/>
                  </a:lnTo>
                  <a:lnTo>
                    <a:pt x="35" y="47"/>
                  </a:lnTo>
                  <a:lnTo>
                    <a:pt x="35" y="0"/>
                  </a:lnTo>
                  <a:lnTo>
                    <a:pt x="30" y="0"/>
                  </a:lnTo>
                  <a:lnTo>
                    <a:pt x="30" y="43"/>
                  </a:lnTo>
                  <a:lnTo>
                    <a:pt x="4" y="43"/>
                  </a:lnTo>
                  <a:lnTo>
                    <a:pt x="4" y="0"/>
                  </a:lnTo>
                  <a:lnTo>
                    <a:pt x="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0" name="Freeform 206">
              <a:extLst>
                <a:ext uri="{FF2B5EF4-FFF2-40B4-BE49-F238E27FC236}">
                  <a16:creationId xmlns:a16="http://schemas.microsoft.com/office/drawing/2014/main" id="{DEAF0182-BD77-4AE7-A32E-00BEE5D20477}"/>
                </a:ext>
              </a:extLst>
            </p:cNvPr>
            <p:cNvSpPr>
              <a:spLocks/>
            </p:cNvSpPr>
            <p:nvPr/>
          </p:nvSpPr>
          <p:spPr bwMode="auto">
            <a:xfrm>
              <a:off x="4281488" y="6640513"/>
              <a:ext cx="41275" cy="84138"/>
            </a:xfrm>
            <a:custGeom>
              <a:avLst/>
              <a:gdLst>
                <a:gd name="T0" fmla="*/ 61 w 204"/>
                <a:gd name="T1" fmla="*/ 268 h 406"/>
                <a:gd name="T2" fmla="*/ 30 w 204"/>
                <a:gd name="T3" fmla="*/ 297 h 406"/>
                <a:gd name="T4" fmla="*/ 1 w 204"/>
                <a:gd name="T5" fmla="*/ 389 h 406"/>
                <a:gd name="T6" fmla="*/ 1 w 204"/>
                <a:gd name="T7" fmla="*/ 406 h 406"/>
                <a:gd name="T8" fmla="*/ 204 w 204"/>
                <a:gd name="T9" fmla="*/ 406 h 406"/>
                <a:gd name="T10" fmla="*/ 204 w 204"/>
                <a:gd name="T11" fmla="*/ 282 h 406"/>
                <a:gd name="T12" fmla="*/ 204 w 204"/>
                <a:gd name="T13" fmla="*/ 0 h 406"/>
                <a:gd name="T14" fmla="*/ 171 w 204"/>
                <a:gd name="T15" fmla="*/ 0 h 406"/>
                <a:gd name="T16" fmla="*/ 171 w 204"/>
                <a:gd name="T17" fmla="*/ 282 h 406"/>
                <a:gd name="T18" fmla="*/ 171 w 204"/>
                <a:gd name="T19" fmla="*/ 373 h 406"/>
                <a:gd name="T20" fmla="*/ 17 w 204"/>
                <a:gd name="T21" fmla="*/ 373 h 406"/>
                <a:gd name="T22" fmla="*/ 17 w 204"/>
                <a:gd name="T23" fmla="*/ 389 h 406"/>
                <a:gd name="T24" fmla="*/ 34 w 204"/>
                <a:gd name="T25" fmla="*/ 389 h 406"/>
                <a:gd name="T26" fmla="*/ 57 w 204"/>
                <a:gd name="T27" fmla="*/ 317 h 406"/>
                <a:gd name="T28" fmla="*/ 72 w 204"/>
                <a:gd name="T29" fmla="*/ 301 h 406"/>
                <a:gd name="T30" fmla="*/ 77 w 204"/>
                <a:gd name="T31" fmla="*/ 297 h 406"/>
                <a:gd name="T32" fmla="*/ 78 w 204"/>
                <a:gd name="T33" fmla="*/ 296 h 406"/>
                <a:gd name="T34" fmla="*/ 78 w 204"/>
                <a:gd name="T35" fmla="*/ 296 h 406"/>
                <a:gd name="T36" fmla="*/ 75 w 204"/>
                <a:gd name="T37" fmla="*/ 291 h 406"/>
                <a:gd name="T38" fmla="*/ 78 w 204"/>
                <a:gd name="T39" fmla="*/ 296 h 406"/>
                <a:gd name="T40" fmla="*/ 78 w 204"/>
                <a:gd name="T41" fmla="*/ 296 h 406"/>
                <a:gd name="T42" fmla="*/ 75 w 204"/>
                <a:gd name="T43" fmla="*/ 291 h 406"/>
                <a:gd name="T44" fmla="*/ 78 w 204"/>
                <a:gd name="T45" fmla="*/ 296 h 406"/>
                <a:gd name="T46" fmla="*/ 61 w 204"/>
                <a:gd name="T47" fmla="*/ 26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406">
                  <a:moveTo>
                    <a:pt x="61" y="268"/>
                  </a:moveTo>
                  <a:cubicBezTo>
                    <a:pt x="60" y="269"/>
                    <a:pt x="45" y="277"/>
                    <a:pt x="30" y="297"/>
                  </a:cubicBezTo>
                  <a:cubicBezTo>
                    <a:pt x="15" y="317"/>
                    <a:pt x="0" y="347"/>
                    <a:pt x="1" y="389"/>
                  </a:cubicBezTo>
                  <a:lnTo>
                    <a:pt x="1" y="406"/>
                  </a:lnTo>
                  <a:lnTo>
                    <a:pt x="204" y="406"/>
                  </a:lnTo>
                  <a:lnTo>
                    <a:pt x="204" y="282"/>
                  </a:lnTo>
                  <a:lnTo>
                    <a:pt x="204" y="0"/>
                  </a:lnTo>
                  <a:lnTo>
                    <a:pt x="171" y="0"/>
                  </a:lnTo>
                  <a:lnTo>
                    <a:pt x="171" y="282"/>
                  </a:lnTo>
                  <a:lnTo>
                    <a:pt x="171" y="373"/>
                  </a:lnTo>
                  <a:lnTo>
                    <a:pt x="17" y="373"/>
                  </a:lnTo>
                  <a:lnTo>
                    <a:pt x="17" y="389"/>
                  </a:lnTo>
                  <a:lnTo>
                    <a:pt x="34" y="389"/>
                  </a:lnTo>
                  <a:cubicBezTo>
                    <a:pt x="34" y="355"/>
                    <a:pt x="45" y="332"/>
                    <a:pt x="57" y="317"/>
                  </a:cubicBezTo>
                  <a:cubicBezTo>
                    <a:pt x="62" y="310"/>
                    <a:pt x="68" y="304"/>
                    <a:pt x="72" y="301"/>
                  </a:cubicBezTo>
                  <a:cubicBezTo>
                    <a:pt x="74" y="299"/>
                    <a:pt x="76" y="298"/>
                    <a:pt x="77" y="297"/>
                  </a:cubicBezTo>
                  <a:lnTo>
                    <a:pt x="78" y="296"/>
                  </a:lnTo>
                  <a:lnTo>
                    <a:pt x="78" y="296"/>
                  </a:lnTo>
                  <a:lnTo>
                    <a:pt x="75" y="291"/>
                  </a:lnTo>
                  <a:lnTo>
                    <a:pt x="78" y="296"/>
                  </a:lnTo>
                  <a:lnTo>
                    <a:pt x="78" y="296"/>
                  </a:lnTo>
                  <a:lnTo>
                    <a:pt x="75" y="291"/>
                  </a:lnTo>
                  <a:lnTo>
                    <a:pt x="78" y="296"/>
                  </a:lnTo>
                  <a:lnTo>
                    <a:pt x="61" y="26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1" name="Freeform 207">
              <a:extLst>
                <a:ext uri="{FF2B5EF4-FFF2-40B4-BE49-F238E27FC236}">
                  <a16:creationId xmlns:a16="http://schemas.microsoft.com/office/drawing/2014/main" id="{1AECB8A5-F7F4-49A5-9301-A36A156DCD4D}"/>
                </a:ext>
              </a:extLst>
            </p:cNvPr>
            <p:cNvSpPr>
              <a:spLocks/>
            </p:cNvSpPr>
            <p:nvPr/>
          </p:nvSpPr>
          <p:spPr bwMode="auto">
            <a:xfrm>
              <a:off x="4316413" y="6696076"/>
              <a:ext cx="41275" cy="28575"/>
            </a:xfrm>
            <a:custGeom>
              <a:avLst/>
              <a:gdLst>
                <a:gd name="T0" fmla="*/ 125 w 203"/>
                <a:gd name="T1" fmla="*/ 28 h 138"/>
                <a:gd name="T2" fmla="*/ 129 w 203"/>
                <a:gd name="T3" fmla="*/ 23 h 138"/>
                <a:gd name="T4" fmla="*/ 125 w 203"/>
                <a:gd name="T5" fmla="*/ 28 h 138"/>
                <a:gd name="T6" fmla="*/ 125 w 203"/>
                <a:gd name="T7" fmla="*/ 28 h 138"/>
                <a:gd name="T8" fmla="*/ 129 w 203"/>
                <a:gd name="T9" fmla="*/ 23 h 138"/>
                <a:gd name="T10" fmla="*/ 125 w 203"/>
                <a:gd name="T11" fmla="*/ 28 h 138"/>
                <a:gd name="T12" fmla="*/ 148 w 203"/>
                <a:gd name="T13" fmla="*/ 51 h 138"/>
                <a:gd name="T14" fmla="*/ 170 w 203"/>
                <a:gd name="T15" fmla="*/ 121 h 138"/>
                <a:gd name="T16" fmla="*/ 186 w 203"/>
                <a:gd name="T17" fmla="*/ 121 h 138"/>
                <a:gd name="T18" fmla="*/ 186 w 203"/>
                <a:gd name="T19" fmla="*/ 105 h 138"/>
                <a:gd name="T20" fmla="*/ 33 w 203"/>
                <a:gd name="T21" fmla="*/ 105 h 138"/>
                <a:gd name="T22" fmla="*/ 33 w 203"/>
                <a:gd name="T23" fmla="*/ 14 h 138"/>
                <a:gd name="T24" fmla="*/ 0 w 203"/>
                <a:gd name="T25" fmla="*/ 14 h 138"/>
                <a:gd name="T26" fmla="*/ 0 w 203"/>
                <a:gd name="T27" fmla="*/ 138 h 138"/>
                <a:gd name="T28" fmla="*/ 203 w 203"/>
                <a:gd name="T29" fmla="*/ 138 h 138"/>
                <a:gd name="T30" fmla="*/ 203 w 203"/>
                <a:gd name="T31" fmla="*/ 121 h 138"/>
                <a:gd name="T32" fmla="*/ 173 w 203"/>
                <a:gd name="T33" fmla="*/ 29 h 138"/>
                <a:gd name="T34" fmla="*/ 142 w 203"/>
                <a:gd name="T35" fmla="*/ 0 h 138"/>
                <a:gd name="T36" fmla="*/ 125 w 203"/>
                <a:gd name="T3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 h="138">
                  <a:moveTo>
                    <a:pt x="125" y="28"/>
                  </a:moveTo>
                  <a:lnTo>
                    <a:pt x="129" y="23"/>
                  </a:lnTo>
                  <a:lnTo>
                    <a:pt x="125" y="28"/>
                  </a:lnTo>
                  <a:lnTo>
                    <a:pt x="125" y="28"/>
                  </a:lnTo>
                  <a:lnTo>
                    <a:pt x="129" y="23"/>
                  </a:lnTo>
                  <a:lnTo>
                    <a:pt x="125" y="28"/>
                  </a:lnTo>
                  <a:cubicBezTo>
                    <a:pt x="126" y="28"/>
                    <a:pt x="137" y="36"/>
                    <a:pt x="148" y="51"/>
                  </a:cubicBezTo>
                  <a:cubicBezTo>
                    <a:pt x="159" y="66"/>
                    <a:pt x="170" y="88"/>
                    <a:pt x="170" y="121"/>
                  </a:cubicBezTo>
                  <a:lnTo>
                    <a:pt x="186" y="121"/>
                  </a:lnTo>
                  <a:lnTo>
                    <a:pt x="186" y="105"/>
                  </a:lnTo>
                  <a:lnTo>
                    <a:pt x="33" y="105"/>
                  </a:lnTo>
                  <a:lnTo>
                    <a:pt x="33" y="14"/>
                  </a:lnTo>
                  <a:lnTo>
                    <a:pt x="0" y="14"/>
                  </a:lnTo>
                  <a:lnTo>
                    <a:pt x="0" y="138"/>
                  </a:lnTo>
                  <a:lnTo>
                    <a:pt x="203" y="138"/>
                  </a:lnTo>
                  <a:lnTo>
                    <a:pt x="203" y="121"/>
                  </a:lnTo>
                  <a:cubicBezTo>
                    <a:pt x="203" y="79"/>
                    <a:pt x="188" y="49"/>
                    <a:pt x="173" y="29"/>
                  </a:cubicBezTo>
                  <a:cubicBezTo>
                    <a:pt x="159" y="9"/>
                    <a:pt x="144" y="1"/>
                    <a:pt x="142" y="0"/>
                  </a:cubicBezTo>
                  <a:lnTo>
                    <a:pt x="125" y="28"/>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2" name="Freeform 208">
              <a:extLst>
                <a:ext uri="{FF2B5EF4-FFF2-40B4-BE49-F238E27FC236}">
                  <a16:creationId xmlns:a16="http://schemas.microsoft.com/office/drawing/2014/main" id="{A9F48797-759A-46AF-8A05-E2FF0662A6C8}"/>
                </a:ext>
              </a:extLst>
            </p:cNvPr>
            <p:cNvSpPr>
              <a:spLocks/>
            </p:cNvSpPr>
            <p:nvPr/>
          </p:nvSpPr>
          <p:spPr bwMode="auto">
            <a:xfrm>
              <a:off x="4384676" y="6494463"/>
              <a:ext cx="112713" cy="77788"/>
            </a:xfrm>
            <a:custGeom>
              <a:avLst/>
              <a:gdLst>
                <a:gd name="T0" fmla="*/ 33 w 550"/>
                <a:gd name="T1" fmla="*/ 347 h 375"/>
                <a:gd name="T2" fmla="*/ 33 w 550"/>
                <a:gd name="T3" fmla="*/ 263 h 375"/>
                <a:gd name="T4" fmla="*/ 77 w 550"/>
                <a:gd name="T5" fmla="*/ 182 h 375"/>
                <a:gd name="T6" fmla="*/ 77 w 550"/>
                <a:gd name="T7" fmla="*/ 182 h 375"/>
                <a:gd name="T8" fmla="*/ 141 w 550"/>
                <a:gd name="T9" fmla="*/ 140 h 375"/>
                <a:gd name="T10" fmla="*/ 190 w 550"/>
                <a:gd name="T11" fmla="*/ 50 h 375"/>
                <a:gd name="T12" fmla="*/ 190 w 550"/>
                <a:gd name="T13" fmla="*/ 45 h 375"/>
                <a:gd name="T14" fmla="*/ 173 w 550"/>
                <a:gd name="T15" fmla="*/ 45 h 375"/>
                <a:gd name="T16" fmla="*/ 160 w 550"/>
                <a:gd name="T17" fmla="*/ 56 h 375"/>
                <a:gd name="T18" fmla="*/ 243 w 550"/>
                <a:gd name="T19" fmla="*/ 97 h 375"/>
                <a:gd name="T20" fmla="*/ 325 w 550"/>
                <a:gd name="T21" fmla="*/ 56 h 375"/>
                <a:gd name="T22" fmla="*/ 312 w 550"/>
                <a:gd name="T23" fmla="*/ 45 h 375"/>
                <a:gd name="T24" fmla="*/ 296 w 550"/>
                <a:gd name="T25" fmla="*/ 45 h 375"/>
                <a:gd name="T26" fmla="*/ 296 w 550"/>
                <a:gd name="T27" fmla="*/ 50 h 375"/>
                <a:gd name="T28" fmla="*/ 344 w 550"/>
                <a:gd name="T29" fmla="*/ 140 h 375"/>
                <a:gd name="T30" fmla="*/ 408 w 550"/>
                <a:gd name="T31" fmla="*/ 182 h 375"/>
                <a:gd name="T32" fmla="*/ 409 w 550"/>
                <a:gd name="T33" fmla="*/ 182 h 375"/>
                <a:gd name="T34" fmla="*/ 410 w 550"/>
                <a:gd name="T35" fmla="*/ 183 h 375"/>
                <a:gd name="T36" fmla="*/ 469 w 550"/>
                <a:gd name="T37" fmla="*/ 227 h 375"/>
                <a:gd name="T38" fmla="*/ 503 w 550"/>
                <a:gd name="T39" fmla="*/ 264 h 375"/>
                <a:gd name="T40" fmla="*/ 516 w 550"/>
                <a:gd name="T41" fmla="*/ 298 h 375"/>
                <a:gd name="T42" fmla="*/ 515 w 550"/>
                <a:gd name="T43" fmla="*/ 307 h 375"/>
                <a:gd name="T44" fmla="*/ 515 w 550"/>
                <a:gd name="T45" fmla="*/ 306 h 375"/>
                <a:gd name="T46" fmla="*/ 498 w 550"/>
                <a:gd name="T47" fmla="*/ 335 h 375"/>
                <a:gd name="T48" fmla="*/ 477 w 550"/>
                <a:gd name="T49" fmla="*/ 342 h 375"/>
                <a:gd name="T50" fmla="*/ 446 w 550"/>
                <a:gd name="T51" fmla="*/ 334 h 375"/>
                <a:gd name="T52" fmla="*/ 435 w 550"/>
                <a:gd name="T53" fmla="*/ 328 h 375"/>
                <a:gd name="T54" fmla="*/ 432 w 550"/>
                <a:gd name="T55" fmla="*/ 326 h 375"/>
                <a:gd name="T56" fmla="*/ 431 w 550"/>
                <a:gd name="T57" fmla="*/ 326 h 375"/>
                <a:gd name="T58" fmla="*/ 431 w 550"/>
                <a:gd name="T59" fmla="*/ 326 h 375"/>
                <a:gd name="T60" fmla="*/ 428 w 550"/>
                <a:gd name="T61" fmla="*/ 330 h 375"/>
                <a:gd name="T62" fmla="*/ 431 w 550"/>
                <a:gd name="T63" fmla="*/ 326 h 375"/>
                <a:gd name="T64" fmla="*/ 431 w 550"/>
                <a:gd name="T65" fmla="*/ 326 h 375"/>
                <a:gd name="T66" fmla="*/ 428 w 550"/>
                <a:gd name="T67" fmla="*/ 330 h 375"/>
                <a:gd name="T68" fmla="*/ 431 w 550"/>
                <a:gd name="T69" fmla="*/ 326 h 375"/>
                <a:gd name="T70" fmla="*/ 412 w 550"/>
                <a:gd name="T71" fmla="*/ 353 h 375"/>
                <a:gd name="T72" fmla="*/ 432 w 550"/>
                <a:gd name="T73" fmla="*/ 364 h 375"/>
                <a:gd name="T74" fmla="*/ 477 w 550"/>
                <a:gd name="T75" fmla="*/ 375 h 375"/>
                <a:gd name="T76" fmla="*/ 518 w 550"/>
                <a:gd name="T77" fmla="*/ 362 h 375"/>
                <a:gd name="T78" fmla="*/ 547 w 550"/>
                <a:gd name="T79" fmla="*/ 316 h 375"/>
                <a:gd name="T80" fmla="*/ 547 w 550"/>
                <a:gd name="T81" fmla="*/ 316 h 375"/>
                <a:gd name="T82" fmla="*/ 550 w 550"/>
                <a:gd name="T83" fmla="*/ 298 h 375"/>
                <a:gd name="T84" fmla="*/ 528 w 550"/>
                <a:gd name="T85" fmla="*/ 242 h 375"/>
                <a:gd name="T86" fmla="*/ 464 w 550"/>
                <a:gd name="T87" fmla="*/ 179 h 375"/>
                <a:gd name="T88" fmla="*/ 426 w 550"/>
                <a:gd name="T89" fmla="*/ 153 h 375"/>
                <a:gd name="T90" fmla="*/ 417 w 550"/>
                <a:gd name="T91" fmla="*/ 168 h 375"/>
                <a:gd name="T92" fmla="*/ 426 w 550"/>
                <a:gd name="T93" fmla="*/ 154 h 375"/>
                <a:gd name="T94" fmla="*/ 362 w 550"/>
                <a:gd name="T95" fmla="*/ 112 h 375"/>
                <a:gd name="T96" fmla="*/ 329 w 550"/>
                <a:gd name="T97" fmla="*/ 50 h 375"/>
                <a:gd name="T98" fmla="*/ 329 w 550"/>
                <a:gd name="T99" fmla="*/ 45 h 375"/>
                <a:gd name="T100" fmla="*/ 329 w 550"/>
                <a:gd name="T101" fmla="*/ 0 h 375"/>
                <a:gd name="T102" fmla="*/ 300 w 550"/>
                <a:gd name="T103" fmla="*/ 34 h 375"/>
                <a:gd name="T104" fmla="*/ 243 w 550"/>
                <a:gd name="T105" fmla="*/ 63 h 375"/>
                <a:gd name="T106" fmla="*/ 186 w 550"/>
                <a:gd name="T107" fmla="*/ 34 h 375"/>
                <a:gd name="T108" fmla="*/ 156 w 550"/>
                <a:gd name="T109" fmla="*/ 0 h 375"/>
                <a:gd name="T110" fmla="*/ 156 w 550"/>
                <a:gd name="T111" fmla="*/ 50 h 375"/>
                <a:gd name="T112" fmla="*/ 123 w 550"/>
                <a:gd name="T113" fmla="*/ 112 h 375"/>
                <a:gd name="T114" fmla="*/ 59 w 550"/>
                <a:gd name="T115" fmla="*/ 154 h 375"/>
                <a:gd name="T116" fmla="*/ 59 w 550"/>
                <a:gd name="T117" fmla="*/ 154 h 375"/>
                <a:gd name="T118" fmla="*/ 0 w 550"/>
                <a:gd name="T119" fmla="*/ 263 h 375"/>
                <a:gd name="T120" fmla="*/ 0 w 550"/>
                <a:gd name="T121" fmla="*/ 347 h 375"/>
                <a:gd name="T122" fmla="*/ 33 w 550"/>
                <a:gd name="T123" fmla="*/ 34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0" h="375">
                  <a:moveTo>
                    <a:pt x="33" y="347"/>
                  </a:moveTo>
                  <a:lnTo>
                    <a:pt x="33" y="263"/>
                  </a:lnTo>
                  <a:cubicBezTo>
                    <a:pt x="33" y="230"/>
                    <a:pt x="50" y="200"/>
                    <a:pt x="77" y="182"/>
                  </a:cubicBezTo>
                  <a:lnTo>
                    <a:pt x="77" y="182"/>
                  </a:lnTo>
                  <a:lnTo>
                    <a:pt x="141" y="140"/>
                  </a:lnTo>
                  <a:cubicBezTo>
                    <a:pt x="172" y="120"/>
                    <a:pt x="190" y="86"/>
                    <a:pt x="190" y="50"/>
                  </a:cubicBezTo>
                  <a:lnTo>
                    <a:pt x="190" y="45"/>
                  </a:lnTo>
                  <a:lnTo>
                    <a:pt x="173" y="45"/>
                  </a:lnTo>
                  <a:lnTo>
                    <a:pt x="160" y="56"/>
                  </a:lnTo>
                  <a:cubicBezTo>
                    <a:pt x="181" y="81"/>
                    <a:pt x="210" y="97"/>
                    <a:pt x="243" y="97"/>
                  </a:cubicBezTo>
                  <a:cubicBezTo>
                    <a:pt x="275" y="97"/>
                    <a:pt x="304" y="81"/>
                    <a:pt x="325" y="56"/>
                  </a:cubicBezTo>
                  <a:lnTo>
                    <a:pt x="312" y="45"/>
                  </a:lnTo>
                  <a:lnTo>
                    <a:pt x="296" y="45"/>
                  </a:lnTo>
                  <a:lnTo>
                    <a:pt x="296" y="50"/>
                  </a:lnTo>
                  <a:cubicBezTo>
                    <a:pt x="296" y="86"/>
                    <a:pt x="314" y="120"/>
                    <a:pt x="344" y="140"/>
                  </a:cubicBezTo>
                  <a:lnTo>
                    <a:pt x="408" y="182"/>
                  </a:lnTo>
                  <a:lnTo>
                    <a:pt x="409" y="182"/>
                  </a:lnTo>
                  <a:lnTo>
                    <a:pt x="410" y="183"/>
                  </a:lnTo>
                  <a:cubicBezTo>
                    <a:pt x="416" y="187"/>
                    <a:pt x="444" y="204"/>
                    <a:pt x="469" y="227"/>
                  </a:cubicBezTo>
                  <a:cubicBezTo>
                    <a:pt x="482" y="238"/>
                    <a:pt x="494" y="251"/>
                    <a:pt x="503" y="264"/>
                  </a:cubicBezTo>
                  <a:cubicBezTo>
                    <a:pt x="512" y="276"/>
                    <a:pt x="516" y="288"/>
                    <a:pt x="516" y="298"/>
                  </a:cubicBezTo>
                  <a:cubicBezTo>
                    <a:pt x="516" y="301"/>
                    <a:pt x="516" y="303"/>
                    <a:pt x="515" y="307"/>
                  </a:cubicBezTo>
                  <a:lnTo>
                    <a:pt x="515" y="306"/>
                  </a:lnTo>
                  <a:cubicBezTo>
                    <a:pt x="510" y="322"/>
                    <a:pt x="504" y="331"/>
                    <a:pt x="498" y="335"/>
                  </a:cubicBezTo>
                  <a:cubicBezTo>
                    <a:pt x="492" y="340"/>
                    <a:pt x="485" y="342"/>
                    <a:pt x="477" y="342"/>
                  </a:cubicBezTo>
                  <a:cubicBezTo>
                    <a:pt x="467" y="342"/>
                    <a:pt x="455" y="338"/>
                    <a:pt x="446" y="334"/>
                  </a:cubicBezTo>
                  <a:cubicBezTo>
                    <a:pt x="441" y="332"/>
                    <a:pt x="437" y="330"/>
                    <a:pt x="435" y="328"/>
                  </a:cubicBezTo>
                  <a:lnTo>
                    <a:pt x="432" y="326"/>
                  </a:lnTo>
                  <a:lnTo>
                    <a:pt x="431" y="326"/>
                  </a:lnTo>
                  <a:lnTo>
                    <a:pt x="431" y="326"/>
                  </a:lnTo>
                  <a:lnTo>
                    <a:pt x="428" y="330"/>
                  </a:lnTo>
                  <a:lnTo>
                    <a:pt x="431" y="326"/>
                  </a:lnTo>
                  <a:lnTo>
                    <a:pt x="431" y="326"/>
                  </a:lnTo>
                  <a:lnTo>
                    <a:pt x="428" y="330"/>
                  </a:lnTo>
                  <a:lnTo>
                    <a:pt x="431" y="326"/>
                  </a:lnTo>
                  <a:lnTo>
                    <a:pt x="412" y="353"/>
                  </a:lnTo>
                  <a:cubicBezTo>
                    <a:pt x="412" y="353"/>
                    <a:pt x="420" y="359"/>
                    <a:pt x="432" y="364"/>
                  </a:cubicBezTo>
                  <a:cubicBezTo>
                    <a:pt x="443" y="369"/>
                    <a:pt x="459" y="375"/>
                    <a:pt x="477" y="375"/>
                  </a:cubicBezTo>
                  <a:cubicBezTo>
                    <a:pt x="490" y="375"/>
                    <a:pt x="505" y="372"/>
                    <a:pt x="518" y="362"/>
                  </a:cubicBezTo>
                  <a:cubicBezTo>
                    <a:pt x="531" y="352"/>
                    <a:pt x="541" y="337"/>
                    <a:pt x="547" y="316"/>
                  </a:cubicBezTo>
                  <a:lnTo>
                    <a:pt x="547" y="316"/>
                  </a:lnTo>
                  <a:cubicBezTo>
                    <a:pt x="549" y="310"/>
                    <a:pt x="550" y="304"/>
                    <a:pt x="550" y="298"/>
                  </a:cubicBezTo>
                  <a:cubicBezTo>
                    <a:pt x="549" y="277"/>
                    <a:pt x="540" y="258"/>
                    <a:pt x="528" y="242"/>
                  </a:cubicBezTo>
                  <a:cubicBezTo>
                    <a:pt x="510" y="217"/>
                    <a:pt x="485" y="195"/>
                    <a:pt x="464" y="179"/>
                  </a:cubicBezTo>
                  <a:cubicBezTo>
                    <a:pt x="443" y="164"/>
                    <a:pt x="426" y="154"/>
                    <a:pt x="426" y="153"/>
                  </a:cubicBezTo>
                  <a:lnTo>
                    <a:pt x="417" y="168"/>
                  </a:lnTo>
                  <a:lnTo>
                    <a:pt x="426" y="154"/>
                  </a:lnTo>
                  <a:lnTo>
                    <a:pt x="362" y="112"/>
                  </a:lnTo>
                  <a:cubicBezTo>
                    <a:pt x="342" y="98"/>
                    <a:pt x="329" y="75"/>
                    <a:pt x="329" y="50"/>
                  </a:cubicBezTo>
                  <a:lnTo>
                    <a:pt x="329" y="45"/>
                  </a:lnTo>
                  <a:lnTo>
                    <a:pt x="329" y="0"/>
                  </a:lnTo>
                  <a:lnTo>
                    <a:pt x="300" y="34"/>
                  </a:lnTo>
                  <a:cubicBezTo>
                    <a:pt x="283" y="53"/>
                    <a:pt x="264" y="63"/>
                    <a:pt x="243" y="63"/>
                  </a:cubicBezTo>
                  <a:cubicBezTo>
                    <a:pt x="222" y="63"/>
                    <a:pt x="202" y="53"/>
                    <a:pt x="186" y="34"/>
                  </a:cubicBezTo>
                  <a:lnTo>
                    <a:pt x="156" y="0"/>
                  </a:lnTo>
                  <a:lnTo>
                    <a:pt x="156" y="50"/>
                  </a:lnTo>
                  <a:cubicBezTo>
                    <a:pt x="156" y="75"/>
                    <a:pt x="144" y="98"/>
                    <a:pt x="123" y="112"/>
                  </a:cubicBezTo>
                  <a:lnTo>
                    <a:pt x="59" y="154"/>
                  </a:lnTo>
                  <a:lnTo>
                    <a:pt x="59" y="154"/>
                  </a:lnTo>
                  <a:cubicBezTo>
                    <a:pt x="22" y="178"/>
                    <a:pt x="0" y="219"/>
                    <a:pt x="0" y="263"/>
                  </a:cubicBezTo>
                  <a:lnTo>
                    <a:pt x="0" y="347"/>
                  </a:lnTo>
                  <a:lnTo>
                    <a:pt x="33" y="34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3" name="Freeform 209">
              <a:extLst>
                <a:ext uri="{FF2B5EF4-FFF2-40B4-BE49-F238E27FC236}">
                  <a16:creationId xmlns:a16="http://schemas.microsoft.com/office/drawing/2014/main" id="{7BBB99EB-63A1-4C32-B8D5-DBA5D9A091E2}"/>
                </a:ext>
              </a:extLst>
            </p:cNvPr>
            <p:cNvSpPr>
              <a:spLocks/>
            </p:cNvSpPr>
            <p:nvPr/>
          </p:nvSpPr>
          <p:spPr bwMode="auto">
            <a:xfrm>
              <a:off x="4387851" y="6589713"/>
              <a:ext cx="92075" cy="6350"/>
            </a:xfrm>
            <a:custGeom>
              <a:avLst/>
              <a:gdLst>
                <a:gd name="T0" fmla="*/ 0 w 451"/>
                <a:gd name="T1" fmla="*/ 33 h 35"/>
                <a:gd name="T2" fmla="*/ 451 w 451"/>
                <a:gd name="T3" fmla="*/ 35 h 35"/>
                <a:gd name="T4" fmla="*/ 451 w 451"/>
                <a:gd name="T5" fmla="*/ 1 h 35"/>
                <a:gd name="T6" fmla="*/ 0 w 451"/>
                <a:gd name="T7" fmla="*/ 0 h 35"/>
              </a:gdLst>
              <a:ahLst/>
              <a:cxnLst>
                <a:cxn ang="0">
                  <a:pos x="T0" y="T1"/>
                </a:cxn>
                <a:cxn ang="0">
                  <a:pos x="T2" y="T3"/>
                </a:cxn>
                <a:cxn ang="0">
                  <a:pos x="T4" y="T5"/>
                </a:cxn>
                <a:cxn ang="0">
                  <a:pos x="T6" y="T7"/>
                </a:cxn>
              </a:cxnLst>
              <a:rect l="0" t="0" r="r" b="b"/>
              <a:pathLst>
                <a:path w="451" h="35">
                  <a:moveTo>
                    <a:pt x="0" y="33"/>
                  </a:moveTo>
                  <a:lnTo>
                    <a:pt x="451" y="35"/>
                  </a:lnTo>
                  <a:lnTo>
                    <a:pt x="451" y="1"/>
                  </a:lnTo>
                  <a:lnTo>
                    <a:pt x="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4" name="Freeform 210">
              <a:extLst>
                <a:ext uri="{FF2B5EF4-FFF2-40B4-BE49-F238E27FC236}">
                  <a16:creationId xmlns:a16="http://schemas.microsoft.com/office/drawing/2014/main" id="{CB448C3F-9BD7-413E-A5E3-8D04F7AE9F76}"/>
                </a:ext>
              </a:extLst>
            </p:cNvPr>
            <p:cNvSpPr>
              <a:spLocks/>
            </p:cNvSpPr>
            <p:nvPr/>
          </p:nvSpPr>
          <p:spPr bwMode="auto">
            <a:xfrm>
              <a:off x="4408488" y="6477001"/>
              <a:ext cx="50800" cy="38100"/>
            </a:xfrm>
            <a:custGeom>
              <a:avLst/>
              <a:gdLst>
                <a:gd name="T0" fmla="*/ 17 w 248"/>
                <a:gd name="T1" fmla="*/ 17 h 180"/>
                <a:gd name="T2" fmla="*/ 0 w 248"/>
                <a:gd name="T3" fmla="*/ 17 h 180"/>
                <a:gd name="T4" fmla="*/ 41 w 248"/>
                <a:gd name="T5" fmla="*/ 139 h 180"/>
                <a:gd name="T6" fmla="*/ 41 w 248"/>
                <a:gd name="T7" fmla="*/ 139 h 180"/>
                <a:gd name="T8" fmla="*/ 124 w 248"/>
                <a:gd name="T9" fmla="*/ 180 h 180"/>
                <a:gd name="T10" fmla="*/ 206 w 248"/>
                <a:gd name="T11" fmla="*/ 139 h 180"/>
                <a:gd name="T12" fmla="*/ 206 w 248"/>
                <a:gd name="T13" fmla="*/ 139 h 180"/>
                <a:gd name="T14" fmla="*/ 248 w 248"/>
                <a:gd name="T15" fmla="*/ 17 h 180"/>
                <a:gd name="T16" fmla="*/ 248 w 248"/>
                <a:gd name="T17" fmla="*/ 0 h 180"/>
                <a:gd name="T18" fmla="*/ 0 w 248"/>
                <a:gd name="T19" fmla="*/ 0 h 180"/>
                <a:gd name="T20" fmla="*/ 0 w 248"/>
                <a:gd name="T21" fmla="*/ 17 h 180"/>
                <a:gd name="T22" fmla="*/ 17 w 248"/>
                <a:gd name="T23" fmla="*/ 17 h 180"/>
                <a:gd name="T24" fmla="*/ 17 w 248"/>
                <a:gd name="T25" fmla="*/ 33 h 180"/>
                <a:gd name="T26" fmla="*/ 231 w 248"/>
                <a:gd name="T27" fmla="*/ 33 h 180"/>
                <a:gd name="T28" fmla="*/ 231 w 248"/>
                <a:gd name="T29" fmla="*/ 17 h 180"/>
                <a:gd name="T30" fmla="*/ 214 w 248"/>
                <a:gd name="T31" fmla="*/ 17 h 180"/>
                <a:gd name="T32" fmla="*/ 181 w 248"/>
                <a:gd name="T33" fmla="*/ 117 h 180"/>
                <a:gd name="T34" fmla="*/ 181 w 248"/>
                <a:gd name="T35" fmla="*/ 117 h 180"/>
                <a:gd name="T36" fmla="*/ 124 w 248"/>
                <a:gd name="T37" fmla="*/ 146 h 180"/>
                <a:gd name="T38" fmla="*/ 67 w 248"/>
                <a:gd name="T39" fmla="*/ 117 h 180"/>
                <a:gd name="T40" fmla="*/ 67 w 248"/>
                <a:gd name="T41" fmla="*/ 117 h 180"/>
                <a:gd name="T42" fmla="*/ 33 w 248"/>
                <a:gd name="T43" fmla="*/ 17 h 180"/>
                <a:gd name="T44" fmla="*/ 17 w 248"/>
                <a:gd name="T45" fmla="*/ 17 h 180"/>
                <a:gd name="T46" fmla="*/ 17 w 248"/>
                <a:gd name="T47" fmla="*/ 33 h 180"/>
                <a:gd name="T48" fmla="*/ 17 w 248"/>
                <a:gd name="T49"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8" h="180">
                  <a:moveTo>
                    <a:pt x="17" y="17"/>
                  </a:moveTo>
                  <a:lnTo>
                    <a:pt x="0" y="17"/>
                  </a:lnTo>
                  <a:cubicBezTo>
                    <a:pt x="0" y="65"/>
                    <a:pt x="15" y="108"/>
                    <a:pt x="41" y="139"/>
                  </a:cubicBezTo>
                  <a:lnTo>
                    <a:pt x="41" y="139"/>
                  </a:lnTo>
                  <a:cubicBezTo>
                    <a:pt x="62" y="164"/>
                    <a:pt x="91" y="180"/>
                    <a:pt x="124" y="180"/>
                  </a:cubicBezTo>
                  <a:cubicBezTo>
                    <a:pt x="156" y="180"/>
                    <a:pt x="185" y="164"/>
                    <a:pt x="206" y="139"/>
                  </a:cubicBezTo>
                  <a:lnTo>
                    <a:pt x="206" y="139"/>
                  </a:lnTo>
                  <a:cubicBezTo>
                    <a:pt x="232" y="109"/>
                    <a:pt x="248" y="65"/>
                    <a:pt x="248" y="17"/>
                  </a:cubicBezTo>
                  <a:lnTo>
                    <a:pt x="248" y="0"/>
                  </a:lnTo>
                  <a:lnTo>
                    <a:pt x="0" y="0"/>
                  </a:lnTo>
                  <a:lnTo>
                    <a:pt x="0" y="17"/>
                  </a:lnTo>
                  <a:lnTo>
                    <a:pt x="17" y="17"/>
                  </a:lnTo>
                  <a:lnTo>
                    <a:pt x="17" y="33"/>
                  </a:lnTo>
                  <a:lnTo>
                    <a:pt x="231" y="33"/>
                  </a:lnTo>
                  <a:lnTo>
                    <a:pt x="231" y="17"/>
                  </a:lnTo>
                  <a:lnTo>
                    <a:pt x="214" y="17"/>
                  </a:lnTo>
                  <a:cubicBezTo>
                    <a:pt x="214" y="58"/>
                    <a:pt x="201" y="94"/>
                    <a:pt x="181" y="117"/>
                  </a:cubicBezTo>
                  <a:lnTo>
                    <a:pt x="181" y="117"/>
                  </a:lnTo>
                  <a:cubicBezTo>
                    <a:pt x="164" y="136"/>
                    <a:pt x="145" y="146"/>
                    <a:pt x="124" y="146"/>
                  </a:cubicBezTo>
                  <a:cubicBezTo>
                    <a:pt x="103" y="146"/>
                    <a:pt x="83" y="136"/>
                    <a:pt x="67" y="117"/>
                  </a:cubicBezTo>
                  <a:lnTo>
                    <a:pt x="67" y="117"/>
                  </a:lnTo>
                  <a:cubicBezTo>
                    <a:pt x="47" y="94"/>
                    <a:pt x="33" y="58"/>
                    <a:pt x="33" y="17"/>
                  </a:cubicBezTo>
                  <a:lnTo>
                    <a:pt x="17" y="17"/>
                  </a:lnTo>
                  <a:lnTo>
                    <a:pt x="17" y="33"/>
                  </a:lnTo>
                  <a:lnTo>
                    <a:pt x="17"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5" name="Freeform 211">
              <a:extLst>
                <a:ext uri="{FF2B5EF4-FFF2-40B4-BE49-F238E27FC236}">
                  <a16:creationId xmlns:a16="http://schemas.microsoft.com/office/drawing/2014/main" id="{030F99DC-7E49-4AF6-A3F4-4C7D15A45A01}"/>
                </a:ext>
              </a:extLst>
            </p:cNvPr>
            <p:cNvSpPr>
              <a:spLocks/>
            </p:cNvSpPr>
            <p:nvPr/>
          </p:nvSpPr>
          <p:spPr bwMode="auto">
            <a:xfrm>
              <a:off x="4398963" y="6440488"/>
              <a:ext cx="69850" cy="44450"/>
            </a:xfrm>
            <a:custGeom>
              <a:avLst/>
              <a:gdLst>
                <a:gd name="T0" fmla="*/ 16 w 342"/>
                <a:gd name="T1" fmla="*/ 196 h 213"/>
                <a:gd name="T2" fmla="*/ 16 w 342"/>
                <a:gd name="T3" fmla="*/ 212 h 213"/>
                <a:gd name="T4" fmla="*/ 342 w 342"/>
                <a:gd name="T5" fmla="*/ 213 h 213"/>
                <a:gd name="T6" fmla="*/ 342 w 342"/>
                <a:gd name="T7" fmla="*/ 196 h 213"/>
                <a:gd name="T8" fmla="*/ 293 w 342"/>
                <a:gd name="T9" fmla="*/ 58 h 213"/>
                <a:gd name="T10" fmla="*/ 171 w 342"/>
                <a:gd name="T11" fmla="*/ 0 h 213"/>
                <a:gd name="T12" fmla="*/ 49 w 342"/>
                <a:gd name="T13" fmla="*/ 58 h 213"/>
                <a:gd name="T14" fmla="*/ 0 w 342"/>
                <a:gd name="T15" fmla="*/ 196 h 213"/>
                <a:gd name="T16" fmla="*/ 0 w 342"/>
                <a:gd name="T17" fmla="*/ 212 h 213"/>
                <a:gd name="T18" fmla="*/ 16 w 342"/>
                <a:gd name="T19" fmla="*/ 212 h 213"/>
                <a:gd name="T20" fmla="*/ 16 w 342"/>
                <a:gd name="T21" fmla="*/ 196 h 213"/>
                <a:gd name="T22" fmla="*/ 33 w 342"/>
                <a:gd name="T23" fmla="*/ 196 h 213"/>
                <a:gd name="T24" fmla="*/ 74 w 342"/>
                <a:gd name="T25" fmla="*/ 80 h 213"/>
                <a:gd name="T26" fmla="*/ 171 w 342"/>
                <a:gd name="T27" fmla="*/ 34 h 213"/>
                <a:gd name="T28" fmla="*/ 268 w 342"/>
                <a:gd name="T29" fmla="*/ 80 h 213"/>
                <a:gd name="T30" fmla="*/ 309 w 342"/>
                <a:gd name="T31" fmla="*/ 196 h 213"/>
                <a:gd name="T32" fmla="*/ 326 w 342"/>
                <a:gd name="T33" fmla="*/ 196 h 213"/>
                <a:gd name="T34" fmla="*/ 326 w 342"/>
                <a:gd name="T35" fmla="*/ 179 h 213"/>
                <a:gd name="T36" fmla="*/ 16 w 342"/>
                <a:gd name="T37" fmla="*/ 179 h 213"/>
                <a:gd name="T38" fmla="*/ 16 w 342"/>
                <a:gd name="T39" fmla="*/ 196 h 213"/>
                <a:gd name="T40" fmla="*/ 33 w 342"/>
                <a:gd name="T41" fmla="*/ 196 h 213"/>
                <a:gd name="T42" fmla="*/ 16 w 342"/>
                <a:gd name="T43"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213">
                  <a:moveTo>
                    <a:pt x="16" y="196"/>
                  </a:moveTo>
                  <a:lnTo>
                    <a:pt x="16" y="212"/>
                  </a:lnTo>
                  <a:lnTo>
                    <a:pt x="342" y="213"/>
                  </a:lnTo>
                  <a:lnTo>
                    <a:pt x="342" y="196"/>
                  </a:lnTo>
                  <a:cubicBezTo>
                    <a:pt x="342" y="143"/>
                    <a:pt x="324" y="94"/>
                    <a:pt x="293" y="58"/>
                  </a:cubicBezTo>
                  <a:cubicBezTo>
                    <a:pt x="262" y="23"/>
                    <a:pt x="219" y="0"/>
                    <a:pt x="171" y="0"/>
                  </a:cubicBezTo>
                  <a:cubicBezTo>
                    <a:pt x="123" y="0"/>
                    <a:pt x="80" y="23"/>
                    <a:pt x="49" y="58"/>
                  </a:cubicBezTo>
                  <a:cubicBezTo>
                    <a:pt x="18" y="94"/>
                    <a:pt x="0" y="142"/>
                    <a:pt x="0" y="196"/>
                  </a:cubicBezTo>
                  <a:lnTo>
                    <a:pt x="0" y="212"/>
                  </a:lnTo>
                  <a:lnTo>
                    <a:pt x="16" y="212"/>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16" y="179"/>
                  </a:lnTo>
                  <a:lnTo>
                    <a:pt x="16" y="196"/>
                  </a:lnTo>
                  <a:lnTo>
                    <a:pt x="33" y="196"/>
                  </a:lnTo>
                  <a:lnTo>
                    <a:pt x="1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6" name="Freeform 212">
              <a:extLst>
                <a:ext uri="{FF2B5EF4-FFF2-40B4-BE49-F238E27FC236}">
                  <a16:creationId xmlns:a16="http://schemas.microsoft.com/office/drawing/2014/main" id="{6CBF2A8F-A3E1-4651-8B23-3AA476FAB743}"/>
                </a:ext>
              </a:extLst>
            </p:cNvPr>
            <p:cNvSpPr>
              <a:spLocks/>
            </p:cNvSpPr>
            <p:nvPr/>
          </p:nvSpPr>
          <p:spPr bwMode="auto">
            <a:xfrm>
              <a:off x="44307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7" name="Freeform 213">
              <a:extLst>
                <a:ext uri="{FF2B5EF4-FFF2-40B4-BE49-F238E27FC236}">
                  <a16:creationId xmlns:a16="http://schemas.microsoft.com/office/drawing/2014/main" id="{AE063A5B-B539-4D8A-9401-C69C784801F3}"/>
                </a:ext>
              </a:extLst>
            </p:cNvPr>
            <p:cNvSpPr>
              <a:spLocks/>
            </p:cNvSpPr>
            <p:nvPr/>
          </p:nvSpPr>
          <p:spPr bwMode="auto">
            <a:xfrm>
              <a:off x="4406901" y="6535738"/>
              <a:ext cx="50800" cy="57150"/>
            </a:xfrm>
            <a:custGeom>
              <a:avLst/>
              <a:gdLst>
                <a:gd name="T0" fmla="*/ 251 w 251"/>
                <a:gd name="T1" fmla="*/ 28 h 279"/>
                <a:gd name="T2" fmla="*/ 202 w 251"/>
                <a:gd name="T3" fmla="*/ 0 h 279"/>
                <a:gd name="T4" fmla="*/ 67 w 251"/>
                <a:gd name="T5" fmla="*/ 0 h 279"/>
                <a:gd name="T6" fmla="*/ 11 w 251"/>
                <a:gd name="T7" fmla="*/ 56 h 279"/>
                <a:gd name="T8" fmla="*/ 27 w 251"/>
                <a:gd name="T9" fmla="*/ 56 h 279"/>
                <a:gd name="T10" fmla="*/ 11 w 251"/>
                <a:gd name="T11" fmla="*/ 55 h 279"/>
                <a:gd name="T12" fmla="*/ 0 w 251"/>
                <a:gd name="T13" fmla="*/ 278 h 279"/>
                <a:gd name="T14" fmla="*/ 34 w 251"/>
                <a:gd name="T15" fmla="*/ 279 h 279"/>
                <a:gd name="T16" fmla="*/ 44 w 251"/>
                <a:gd name="T17" fmla="*/ 57 h 279"/>
                <a:gd name="T18" fmla="*/ 44 w 251"/>
                <a:gd name="T19" fmla="*/ 56 h 279"/>
                <a:gd name="T20" fmla="*/ 67 w 251"/>
                <a:gd name="T21" fmla="*/ 33 h 279"/>
                <a:gd name="T22" fmla="*/ 202 w 251"/>
                <a:gd name="T23" fmla="*/ 33 h 279"/>
                <a:gd name="T24" fmla="*/ 222 w 251"/>
                <a:gd name="T25" fmla="*/ 45 h 279"/>
                <a:gd name="T26" fmla="*/ 251 w 251"/>
                <a:gd name="T27" fmla="*/ 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279">
                  <a:moveTo>
                    <a:pt x="251" y="28"/>
                  </a:moveTo>
                  <a:cubicBezTo>
                    <a:pt x="242" y="12"/>
                    <a:pt x="223" y="0"/>
                    <a:pt x="202" y="0"/>
                  </a:cubicBezTo>
                  <a:lnTo>
                    <a:pt x="67" y="0"/>
                  </a:lnTo>
                  <a:cubicBezTo>
                    <a:pt x="36" y="0"/>
                    <a:pt x="11" y="25"/>
                    <a:pt x="11" y="56"/>
                  </a:cubicBezTo>
                  <a:lnTo>
                    <a:pt x="27" y="56"/>
                  </a:lnTo>
                  <a:lnTo>
                    <a:pt x="11" y="55"/>
                  </a:lnTo>
                  <a:lnTo>
                    <a:pt x="0" y="278"/>
                  </a:lnTo>
                  <a:lnTo>
                    <a:pt x="34" y="279"/>
                  </a:lnTo>
                  <a:lnTo>
                    <a:pt x="44" y="57"/>
                  </a:lnTo>
                  <a:lnTo>
                    <a:pt x="44" y="56"/>
                  </a:lnTo>
                  <a:cubicBezTo>
                    <a:pt x="44" y="43"/>
                    <a:pt x="54" y="33"/>
                    <a:pt x="67" y="33"/>
                  </a:cubicBezTo>
                  <a:lnTo>
                    <a:pt x="202" y="33"/>
                  </a:lnTo>
                  <a:cubicBezTo>
                    <a:pt x="211" y="33"/>
                    <a:pt x="218" y="38"/>
                    <a:pt x="222" y="45"/>
                  </a:cubicBezTo>
                  <a:lnTo>
                    <a:pt x="251" y="2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8" name="Freeform 214">
              <a:extLst>
                <a:ext uri="{FF2B5EF4-FFF2-40B4-BE49-F238E27FC236}">
                  <a16:creationId xmlns:a16="http://schemas.microsoft.com/office/drawing/2014/main" id="{B27D5856-69BE-46C9-BE93-55AC5B8BA044}"/>
                </a:ext>
              </a:extLst>
            </p:cNvPr>
            <p:cNvSpPr>
              <a:spLocks/>
            </p:cNvSpPr>
            <p:nvPr/>
          </p:nvSpPr>
          <p:spPr bwMode="auto">
            <a:xfrm>
              <a:off x="4446588" y="6521451"/>
              <a:ext cx="14288" cy="19050"/>
            </a:xfrm>
            <a:custGeom>
              <a:avLst/>
              <a:gdLst>
                <a:gd name="T0" fmla="*/ 41 w 71"/>
                <a:gd name="T1" fmla="*/ 0 h 99"/>
                <a:gd name="T2" fmla="*/ 0 w 71"/>
                <a:gd name="T3" fmla="*/ 84 h 99"/>
                <a:gd name="T4" fmla="*/ 29 w 71"/>
                <a:gd name="T5" fmla="*/ 99 h 99"/>
                <a:gd name="T6" fmla="*/ 71 w 71"/>
                <a:gd name="T7" fmla="*/ 15 h 99"/>
              </a:gdLst>
              <a:ahLst/>
              <a:cxnLst>
                <a:cxn ang="0">
                  <a:pos x="T0" y="T1"/>
                </a:cxn>
                <a:cxn ang="0">
                  <a:pos x="T2" y="T3"/>
                </a:cxn>
                <a:cxn ang="0">
                  <a:pos x="T4" y="T5"/>
                </a:cxn>
                <a:cxn ang="0">
                  <a:pos x="T6" y="T7"/>
                </a:cxn>
              </a:cxnLst>
              <a:rect l="0" t="0" r="r" b="b"/>
              <a:pathLst>
                <a:path w="71" h="99">
                  <a:moveTo>
                    <a:pt x="41" y="0"/>
                  </a:moveTo>
                  <a:lnTo>
                    <a:pt x="0" y="84"/>
                  </a:lnTo>
                  <a:lnTo>
                    <a:pt x="29" y="99"/>
                  </a:lnTo>
                  <a:lnTo>
                    <a:pt x="71" y="1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9" name="Freeform 215">
              <a:extLst>
                <a:ext uri="{FF2B5EF4-FFF2-40B4-BE49-F238E27FC236}">
                  <a16:creationId xmlns:a16="http://schemas.microsoft.com/office/drawing/2014/main" id="{51BD5C31-6060-4918-9264-544C57D969DD}"/>
                </a:ext>
              </a:extLst>
            </p:cNvPr>
            <p:cNvSpPr>
              <a:spLocks/>
            </p:cNvSpPr>
            <p:nvPr/>
          </p:nvSpPr>
          <p:spPr bwMode="auto">
            <a:xfrm>
              <a:off x="4406901" y="6521451"/>
              <a:ext cx="14288" cy="19050"/>
            </a:xfrm>
            <a:custGeom>
              <a:avLst/>
              <a:gdLst>
                <a:gd name="T0" fmla="*/ 0 w 72"/>
                <a:gd name="T1" fmla="*/ 14 h 99"/>
                <a:gd name="T2" fmla="*/ 42 w 72"/>
                <a:gd name="T3" fmla="*/ 99 h 99"/>
                <a:gd name="T4" fmla="*/ 72 w 72"/>
                <a:gd name="T5" fmla="*/ 84 h 99"/>
                <a:gd name="T6" fmla="*/ 30 w 72"/>
                <a:gd name="T7" fmla="*/ 0 h 99"/>
              </a:gdLst>
              <a:ahLst/>
              <a:cxnLst>
                <a:cxn ang="0">
                  <a:pos x="T0" y="T1"/>
                </a:cxn>
                <a:cxn ang="0">
                  <a:pos x="T2" y="T3"/>
                </a:cxn>
                <a:cxn ang="0">
                  <a:pos x="T4" y="T5"/>
                </a:cxn>
                <a:cxn ang="0">
                  <a:pos x="T6" y="T7"/>
                </a:cxn>
              </a:cxnLst>
              <a:rect l="0" t="0" r="r" b="b"/>
              <a:pathLst>
                <a:path w="72" h="99">
                  <a:moveTo>
                    <a:pt x="0" y="14"/>
                  </a:moveTo>
                  <a:lnTo>
                    <a:pt x="42" y="99"/>
                  </a:lnTo>
                  <a:lnTo>
                    <a:pt x="72"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0" name="Freeform 216">
              <a:extLst>
                <a:ext uri="{FF2B5EF4-FFF2-40B4-BE49-F238E27FC236}">
                  <a16:creationId xmlns:a16="http://schemas.microsoft.com/office/drawing/2014/main" id="{BD819E60-3196-4346-A6D1-12CF90D894A4}"/>
                </a:ext>
              </a:extLst>
            </p:cNvPr>
            <p:cNvSpPr>
              <a:spLocks/>
            </p:cNvSpPr>
            <p:nvPr/>
          </p:nvSpPr>
          <p:spPr bwMode="auto">
            <a:xfrm>
              <a:off x="4406901" y="6627813"/>
              <a:ext cx="55563" cy="74613"/>
            </a:xfrm>
            <a:custGeom>
              <a:avLst/>
              <a:gdLst>
                <a:gd name="T0" fmla="*/ 30 w 35"/>
                <a:gd name="T1" fmla="*/ 0 h 47"/>
                <a:gd name="T2" fmla="*/ 30 w 35"/>
                <a:gd name="T3" fmla="*/ 43 h 47"/>
                <a:gd name="T4" fmla="*/ 4 w 35"/>
                <a:gd name="T5" fmla="*/ 43 h 47"/>
                <a:gd name="T6" fmla="*/ 4 w 35"/>
                <a:gd name="T7" fmla="*/ 0 h 47"/>
                <a:gd name="T8" fmla="*/ 0 w 35"/>
                <a:gd name="T9" fmla="*/ 0 h 47"/>
                <a:gd name="T10" fmla="*/ 0 w 35"/>
                <a:gd name="T11" fmla="*/ 47 h 47"/>
                <a:gd name="T12" fmla="*/ 35 w 35"/>
                <a:gd name="T13" fmla="*/ 47 h 47"/>
                <a:gd name="T14" fmla="*/ 35 w 35"/>
                <a:gd name="T15" fmla="*/ 0 h 47"/>
                <a:gd name="T16" fmla="*/ 3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30" y="0"/>
                  </a:moveTo>
                  <a:lnTo>
                    <a:pt x="30" y="43"/>
                  </a:lnTo>
                  <a:lnTo>
                    <a:pt x="4" y="43"/>
                  </a:lnTo>
                  <a:lnTo>
                    <a:pt x="4" y="0"/>
                  </a:lnTo>
                  <a:lnTo>
                    <a:pt x="0" y="0"/>
                  </a:lnTo>
                  <a:lnTo>
                    <a:pt x="0" y="47"/>
                  </a:lnTo>
                  <a:lnTo>
                    <a:pt x="35" y="47"/>
                  </a:lnTo>
                  <a:lnTo>
                    <a:pt x="35" y="0"/>
                  </a:lnTo>
                  <a:lnTo>
                    <a:pt x="3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1" name="Freeform 217">
              <a:extLst>
                <a:ext uri="{FF2B5EF4-FFF2-40B4-BE49-F238E27FC236}">
                  <a16:creationId xmlns:a16="http://schemas.microsoft.com/office/drawing/2014/main" id="{5E7B7132-BF3E-4A17-90DD-3987A5F3791B}"/>
                </a:ext>
              </a:extLst>
            </p:cNvPr>
            <p:cNvSpPr>
              <a:spLocks/>
            </p:cNvSpPr>
            <p:nvPr/>
          </p:nvSpPr>
          <p:spPr bwMode="auto">
            <a:xfrm>
              <a:off x="4430713" y="6640513"/>
              <a:ext cx="41275" cy="84138"/>
            </a:xfrm>
            <a:custGeom>
              <a:avLst/>
              <a:gdLst>
                <a:gd name="T0" fmla="*/ 126 w 203"/>
                <a:gd name="T1" fmla="*/ 296 h 406"/>
                <a:gd name="T2" fmla="*/ 129 w 203"/>
                <a:gd name="T3" fmla="*/ 291 h 406"/>
                <a:gd name="T4" fmla="*/ 126 w 203"/>
                <a:gd name="T5" fmla="*/ 296 h 406"/>
                <a:gd name="T6" fmla="*/ 126 w 203"/>
                <a:gd name="T7" fmla="*/ 296 h 406"/>
                <a:gd name="T8" fmla="*/ 129 w 203"/>
                <a:gd name="T9" fmla="*/ 291 h 406"/>
                <a:gd name="T10" fmla="*/ 126 w 203"/>
                <a:gd name="T11" fmla="*/ 296 h 406"/>
                <a:gd name="T12" fmla="*/ 148 w 203"/>
                <a:gd name="T13" fmla="*/ 319 h 406"/>
                <a:gd name="T14" fmla="*/ 170 w 203"/>
                <a:gd name="T15" fmla="*/ 389 h 406"/>
                <a:gd name="T16" fmla="*/ 187 w 203"/>
                <a:gd name="T17" fmla="*/ 389 h 406"/>
                <a:gd name="T18" fmla="*/ 187 w 203"/>
                <a:gd name="T19" fmla="*/ 373 h 406"/>
                <a:gd name="T20" fmla="*/ 33 w 203"/>
                <a:gd name="T21" fmla="*/ 373 h 406"/>
                <a:gd name="T22" fmla="*/ 33 w 203"/>
                <a:gd name="T23" fmla="*/ 282 h 406"/>
                <a:gd name="T24" fmla="*/ 33 w 203"/>
                <a:gd name="T25" fmla="*/ 0 h 406"/>
                <a:gd name="T26" fmla="*/ 0 w 203"/>
                <a:gd name="T27" fmla="*/ 0 h 406"/>
                <a:gd name="T28" fmla="*/ 0 w 203"/>
                <a:gd name="T29" fmla="*/ 282 h 406"/>
                <a:gd name="T30" fmla="*/ 0 w 203"/>
                <a:gd name="T31" fmla="*/ 406 h 406"/>
                <a:gd name="T32" fmla="*/ 203 w 203"/>
                <a:gd name="T33" fmla="*/ 406 h 406"/>
                <a:gd name="T34" fmla="*/ 203 w 203"/>
                <a:gd name="T35" fmla="*/ 389 h 406"/>
                <a:gd name="T36" fmla="*/ 174 w 203"/>
                <a:gd name="T37" fmla="*/ 297 h 406"/>
                <a:gd name="T38" fmla="*/ 143 w 203"/>
                <a:gd name="T39" fmla="*/ 268 h 406"/>
                <a:gd name="T40" fmla="*/ 126 w 203"/>
                <a:gd name="T41" fmla="*/ 29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406">
                  <a:moveTo>
                    <a:pt x="126" y="296"/>
                  </a:moveTo>
                  <a:lnTo>
                    <a:pt x="129" y="291"/>
                  </a:lnTo>
                  <a:lnTo>
                    <a:pt x="126" y="296"/>
                  </a:lnTo>
                  <a:lnTo>
                    <a:pt x="126" y="296"/>
                  </a:lnTo>
                  <a:lnTo>
                    <a:pt x="129" y="291"/>
                  </a:lnTo>
                  <a:lnTo>
                    <a:pt x="126" y="296"/>
                  </a:lnTo>
                  <a:cubicBezTo>
                    <a:pt x="126" y="296"/>
                    <a:pt x="137" y="304"/>
                    <a:pt x="148" y="319"/>
                  </a:cubicBezTo>
                  <a:cubicBezTo>
                    <a:pt x="159" y="334"/>
                    <a:pt x="170" y="356"/>
                    <a:pt x="170" y="389"/>
                  </a:cubicBezTo>
                  <a:lnTo>
                    <a:pt x="187" y="389"/>
                  </a:lnTo>
                  <a:lnTo>
                    <a:pt x="187" y="373"/>
                  </a:lnTo>
                  <a:lnTo>
                    <a:pt x="33" y="373"/>
                  </a:lnTo>
                  <a:lnTo>
                    <a:pt x="33" y="282"/>
                  </a:lnTo>
                  <a:lnTo>
                    <a:pt x="33" y="0"/>
                  </a:lnTo>
                  <a:lnTo>
                    <a:pt x="0" y="0"/>
                  </a:lnTo>
                  <a:lnTo>
                    <a:pt x="0" y="282"/>
                  </a:lnTo>
                  <a:lnTo>
                    <a:pt x="0" y="406"/>
                  </a:lnTo>
                  <a:lnTo>
                    <a:pt x="203" y="406"/>
                  </a:lnTo>
                  <a:lnTo>
                    <a:pt x="203" y="389"/>
                  </a:lnTo>
                  <a:cubicBezTo>
                    <a:pt x="203" y="347"/>
                    <a:pt x="189" y="317"/>
                    <a:pt x="174" y="297"/>
                  </a:cubicBezTo>
                  <a:cubicBezTo>
                    <a:pt x="159" y="277"/>
                    <a:pt x="144" y="269"/>
                    <a:pt x="143" y="268"/>
                  </a:cubicBezTo>
                  <a:lnTo>
                    <a:pt x="126" y="29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2" name="Freeform 218">
              <a:extLst>
                <a:ext uri="{FF2B5EF4-FFF2-40B4-BE49-F238E27FC236}">
                  <a16:creationId xmlns:a16="http://schemas.microsoft.com/office/drawing/2014/main" id="{AFE5D450-6DB6-4C20-BB3A-61A0EAA6A328}"/>
                </a:ext>
              </a:extLst>
            </p:cNvPr>
            <p:cNvSpPr>
              <a:spLocks/>
            </p:cNvSpPr>
            <p:nvPr/>
          </p:nvSpPr>
          <p:spPr bwMode="auto">
            <a:xfrm>
              <a:off x="4395788" y="6696076"/>
              <a:ext cx="41275" cy="28575"/>
            </a:xfrm>
            <a:custGeom>
              <a:avLst/>
              <a:gdLst>
                <a:gd name="T0" fmla="*/ 60 w 203"/>
                <a:gd name="T1" fmla="*/ 0 h 138"/>
                <a:gd name="T2" fmla="*/ 29 w 203"/>
                <a:gd name="T3" fmla="*/ 29 h 138"/>
                <a:gd name="T4" fmla="*/ 0 w 203"/>
                <a:gd name="T5" fmla="*/ 121 h 138"/>
                <a:gd name="T6" fmla="*/ 0 w 203"/>
                <a:gd name="T7" fmla="*/ 138 h 138"/>
                <a:gd name="T8" fmla="*/ 203 w 203"/>
                <a:gd name="T9" fmla="*/ 138 h 138"/>
                <a:gd name="T10" fmla="*/ 203 w 203"/>
                <a:gd name="T11" fmla="*/ 14 h 138"/>
                <a:gd name="T12" fmla="*/ 170 w 203"/>
                <a:gd name="T13" fmla="*/ 14 h 138"/>
                <a:gd name="T14" fmla="*/ 170 w 203"/>
                <a:gd name="T15" fmla="*/ 105 h 138"/>
                <a:gd name="T16" fmla="*/ 16 w 203"/>
                <a:gd name="T17" fmla="*/ 105 h 138"/>
                <a:gd name="T18" fmla="*/ 16 w 203"/>
                <a:gd name="T19" fmla="*/ 121 h 138"/>
                <a:gd name="T20" fmla="*/ 33 w 203"/>
                <a:gd name="T21" fmla="*/ 121 h 138"/>
                <a:gd name="T22" fmla="*/ 56 w 203"/>
                <a:gd name="T23" fmla="*/ 49 h 138"/>
                <a:gd name="T24" fmla="*/ 71 w 203"/>
                <a:gd name="T25" fmla="*/ 33 h 138"/>
                <a:gd name="T26" fmla="*/ 76 w 203"/>
                <a:gd name="T27" fmla="*/ 29 h 138"/>
                <a:gd name="T28" fmla="*/ 77 w 203"/>
                <a:gd name="T29" fmla="*/ 28 h 138"/>
                <a:gd name="T30" fmla="*/ 78 w 203"/>
                <a:gd name="T31" fmla="*/ 28 h 138"/>
                <a:gd name="T32" fmla="*/ 74 w 203"/>
                <a:gd name="T33" fmla="*/ 23 h 138"/>
                <a:gd name="T34" fmla="*/ 78 w 203"/>
                <a:gd name="T35" fmla="*/ 28 h 138"/>
                <a:gd name="T36" fmla="*/ 78 w 203"/>
                <a:gd name="T37" fmla="*/ 28 h 138"/>
                <a:gd name="T38" fmla="*/ 74 w 203"/>
                <a:gd name="T39" fmla="*/ 23 h 138"/>
                <a:gd name="T40" fmla="*/ 78 w 203"/>
                <a:gd name="T41" fmla="*/ 28 h 138"/>
                <a:gd name="T42" fmla="*/ 60 w 203"/>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38">
                  <a:moveTo>
                    <a:pt x="60" y="0"/>
                  </a:moveTo>
                  <a:cubicBezTo>
                    <a:pt x="59" y="1"/>
                    <a:pt x="44" y="9"/>
                    <a:pt x="29" y="29"/>
                  </a:cubicBezTo>
                  <a:cubicBezTo>
                    <a:pt x="15" y="49"/>
                    <a:pt x="0" y="79"/>
                    <a:pt x="0" y="121"/>
                  </a:cubicBezTo>
                  <a:lnTo>
                    <a:pt x="0" y="138"/>
                  </a:lnTo>
                  <a:lnTo>
                    <a:pt x="203" y="138"/>
                  </a:lnTo>
                  <a:lnTo>
                    <a:pt x="203" y="14"/>
                  </a:lnTo>
                  <a:lnTo>
                    <a:pt x="170" y="14"/>
                  </a:lnTo>
                  <a:lnTo>
                    <a:pt x="170" y="105"/>
                  </a:lnTo>
                  <a:lnTo>
                    <a:pt x="16" y="105"/>
                  </a:lnTo>
                  <a:lnTo>
                    <a:pt x="16" y="121"/>
                  </a:lnTo>
                  <a:lnTo>
                    <a:pt x="33" y="121"/>
                  </a:lnTo>
                  <a:cubicBezTo>
                    <a:pt x="33" y="87"/>
                    <a:pt x="45" y="64"/>
                    <a:pt x="56" y="49"/>
                  </a:cubicBezTo>
                  <a:cubicBezTo>
                    <a:pt x="62" y="42"/>
                    <a:pt x="67" y="36"/>
                    <a:pt x="71" y="33"/>
                  </a:cubicBezTo>
                  <a:cubicBezTo>
                    <a:pt x="74" y="31"/>
                    <a:pt x="75" y="30"/>
                    <a:pt x="76" y="29"/>
                  </a:cubicBezTo>
                  <a:lnTo>
                    <a:pt x="77" y="28"/>
                  </a:lnTo>
                  <a:lnTo>
                    <a:pt x="78" y="28"/>
                  </a:lnTo>
                  <a:lnTo>
                    <a:pt x="74" y="23"/>
                  </a:lnTo>
                  <a:lnTo>
                    <a:pt x="78" y="28"/>
                  </a:lnTo>
                  <a:lnTo>
                    <a:pt x="78" y="28"/>
                  </a:lnTo>
                  <a:lnTo>
                    <a:pt x="74" y="23"/>
                  </a:lnTo>
                  <a:lnTo>
                    <a:pt x="78" y="28"/>
                  </a:lnTo>
                  <a:lnTo>
                    <a:pt x="6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3" name="Freeform 219">
              <a:extLst>
                <a:ext uri="{FF2B5EF4-FFF2-40B4-BE49-F238E27FC236}">
                  <a16:creationId xmlns:a16="http://schemas.microsoft.com/office/drawing/2014/main" id="{34C59347-F527-43A9-B78C-F5504900492F}"/>
                </a:ext>
              </a:extLst>
            </p:cNvPr>
            <p:cNvSpPr>
              <a:spLocks/>
            </p:cNvSpPr>
            <p:nvPr/>
          </p:nvSpPr>
          <p:spPr bwMode="auto">
            <a:xfrm>
              <a:off x="4346576" y="6550026"/>
              <a:ext cx="30163" cy="19050"/>
            </a:xfrm>
            <a:custGeom>
              <a:avLst/>
              <a:gdLst>
                <a:gd name="T0" fmla="*/ 76 w 152"/>
                <a:gd name="T1" fmla="*/ 17 h 93"/>
                <a:gd name="T2" fmla="*/ 76 w 152"/>
                <a:gd name="T3" fmla="*/ 0 h 93"/>
                <a:gd name="T4" fmla="*/ 0 w 152"/>
                <a:gd name="T5" fmla="*/ 77 h 93"/>
                <a:gd name="T6" fmla="*/ 0 w 152"/>
                <a:gd name="T7" fmla="*/ 93 h 93"/>
                <a:gd name="T8" fmla="*/ 152 w 152"/>
                <a:gd name="T9" fmla="*/ 93 h 93"/>
                <a:gd name="T10" fmla="*/ 152 w 152"/>
                <a:gd name="T11" fmla="*/ 77 h 93"/>
                <a:gd name="T12" fmla="*/ 76 w 152"/>
                <a:gd name="T13" fmla="*/ 0 h 93"/>
                <a:gd name="T14" fmla="*/ 76 w 152"/>
                <a:gd name="T15" fmla="*/ 17 h 93"/>
                <a:gd name="T16" fmla="*/ 76 w 152"/>
                <a:gd name="T17" fmla="*/ 34 h 93"/>
                <a:gd name="T18" fmla="*/ 119 w 152"/>
                <a:gd name="T19" fmla="*/ 77 h 93"/>
                <a:gd name="T20" fmla="*/ 136 w 152"/>
                <a:gd name="T21" fmla="*/ 77 h 93"/>
                <a:gd name="T22" fmla="*/ 136 w 152"/>
                <a:gd name="T23" fmla="*/ 60 h 93"/>
                <a:gd name="T24" fmla="*/ 16 w 152"/>
                <a:gd name="T25" fmla="*/ 60 h 93"/>
                <a:gd name="T26" fmla="*/ 16 w 152"/>
                <a:gd name="T27" fmla="*/ 77 h 93"/>
                <a:gd name="T28" fmla="*/ 33 w 152"/>
                <a:gd name="T29" fmla="*/ 77 h 93"/>
                <a:gd name="T30" fmla="*/ 76 w 152"/>
                <a:gd name="T31" fmla="*/ 34 h 93"/>
                <a:gd name="T32" fmla="*/ 76 w 152"/>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93">
                  <a:moveTo>
                    <a:pt x="76" y="17"/>
                  </a:moveTo>
                  <a:lnTo>
                    <a:pt x="76" y="0"/>
                  </a:lnTo>
                  <a:cubicBezTo>
                    <a:pt x="34" y="0"/>
                    <a:pt x="0" y="35"/>
                    <a:pt x="0" y="77"/>
                  </a:cubicBezTo>
                  <a:lnTo>
                    <a:pt x="0" y="93"/>
                  </a:lnTo>
                  <a:lnTo>
                    <a:pt x="152" y="93"/>
                  </a:lnTo>
                  <a:lnTo>
                    <a:pt x="152" y="77"/>
                  </a:lnTo>
                  <a:cubicBezTo>
                    <a:pt x="152" y="35"/>
                    <a:pt x="118" y="0"/>
                    <a:pt x="76" y="0"/>
                  </a:cubicBezTo>
                  <a:lnTo>
                    <a:pt x="76" y="17"/>
                  </a:lnTo>
                  <a:lnTo>
                    <a:pt x="76" y="34"/>
                  </a:lnTo>
                  <a:cubicBezTo>
                    <a:pt x="100" y="34"/>
                    <a:pt x="119" y="53"/>
                    <a:pt x="119" y="77"/>
                  </a:cubicBezTo>
                  <a:lnTo>
                    <a:pt x="136" y="77"/>
                  </a:lnTo>
                  <a:lnTo>
                    <a:pt x="136" y="60"/>
                  </a:lnTo>
                  <a:lnTo>
                    <a:pt x="16" y="60"/>
                  </a:lnTo>
                  <a:lnTo>
                    <a:pt x="16" y="77"/>
                  </a:lnTo>
                  <a:lnTo>
                    <a:pt x="33" y="77"/>
                  </a:lnTo>
                  <a:cubicBezTo>
                    <a:pt x="33" y="53"/>
                    <a:pt x="52" y="34"/>
                    <a:pt x="76" y="34"/>
                  </a:cubicBezTo>
                  <a:lnTo>
                    <a:pt x="76"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4" name="Freeform 220">
              <a:extLst>
                <a:ext uri="{FF2B5EF4-FFF2-40B4-BE49-F238E27FC236}">
                  <a16:creationId xmlns:a16="http://schemas.microsoft.com/office/drawing/2014/main" id="{2AB9521B-528B-4873-9C0E-CB3D92848598}"/>
                </a:ext>
              </a:extLst>
            </p:cNvPr>
            <p:cNvSpPr>
              <a:spLocks/>
            </p:cNvSpPr>
            <p:nvPr/>
          </p:nvSpPr>
          <p:spPr bwMode="auto">
            <a:xfrm>
              <a:off x="4441826" y="6538913"/>
              <a:ext cx="30163" cy="20638"/>
            </a:xfrm>
            <a:custGeom>
              <a:avLst/>
              <a:gdLst>
                <a:gd name="T0" fmla="*/ 76 w 153"/>
                <a:gd name="T1" fmla="*/ 17 h 93"/>
                <a:gd name="T2" fmla="*/ 76 w 153"/>
                <a:gd name="T3" fmla="*/ 0 h 93"/>
                <a:gd name="T4" fmla="*/ 0 w 153"/>
                <a:gd name="T5" fmla="*/ 77 h 93"/>
                <a:gd name="T6" fmla="*/ 0 w 153"/>
                <a:gd name="T7" fmla="*/ 93 h 93"/>
                <a:gd name="T8" fmla="*/ 153 w 153"/>
                <a:gd name="T9" fmla="*/ 93 h 93"/>
                <a:gd name="T10" fmla="*/ 153 w 153"/>
                <a:gd name="T11" fmla="*/ 77 h 93"/>
                <a:gd name="T12" fmla="*/ 76 w 153"/>
                <a:gd name="T13" fmla="*/ 0 h 93"/>
                <a:gd name="T14" fmla="*/ 76 w 153"/>
                <a:gd name="T15" fmla="*/ 17 h 93"/>
                <a:gd name="T16" fmla="*/ 76 w 153"/>
                <a:gd name="T17" fmla="*/ 34 h 93"/>
                <a:gd name="T18" fmla="*/ 119 w 153"/>
                <a:gd name="T19" fmla="*/ 77 h 93"/>
                <a:gd name="T20" fmla="*/ 136 w 153"/>
                <a:gd name="T21" fmla="*/ 77 h 93"/>
                <a:gd name="T22" fmla="*/ 136 w 153"/>
                <a:gd name="T23" fmla="*/ 60 h 93"/>
                <a:gd name="T24" fmla="*/ 17 w 153"/>
                <a:gd name="T25" fmla="*/ 60 h 93"/>
                <a:gd name="T26" fmla="*/ 17 w 153"/>
                <a:gd name="T27" fmla="*/ 77 h 93"/>
                <a:gd name="T28" fmla="*/ 33 w 153"/>
                <a:gd name="T29" fmla="*/ 77 h 93"/>
                <a:gd name="T30" fmla="*/ 76 w 153"/>
                <a:gd name="T31" fmla="*/ 34 h 93"/>
                <a:gd name="T32" fmla="*/ 76 w 153"/>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93">
                  <a:moveTo>
                    <a:pt x="76" y="17"/>
                  </a:moveTo>
                  <a:lnTo>
                    <a:pt x="76" y="0"/>
                  </a:lnTo>
                  <a:cubicBezTo>
                    <a:pt x="34" y="0"/>
                    <a:pt x="0" y="35"/>
                    <a:pt x="0" y="77"/>
                  </a:cubicBezTo>
                  <a:lnTo>
                    <a:pt x="0" y="93"/>
                  </a:lnTo>
                  <a:lnTo>
                    <a:pt x="153" y="93"/>
                  </a:lnTo>
                  <a:lnTo>
                    <a:pt x="153" y="77"/>
                  </a:lnTo>
                  <a:cubicBezTo>
                    <a:pt x="153" y="35"/>
                    <a:pt x="119" y="0"/>
                    <a:pt x="76" y="0"/>
                  </a:cubicBezTo>
                  <a:lnTo>
                    <a:pt x="76" y="17"/>
                  </a:lnTo>
                  <a:lnTo>
                    <a:pt x="76" y="34"/>
                  </a:lnTo>
                  <a:cubicBezTo>
                    <a:pt x="100" y="34"/>
                    <a:pt x="119" y="53"/>
                    <a:pt x="119" y="77"/>
                  </a:cubicBezTo>
                  <a:lnTo>
                    <a:pt x="136" y="77"/>
                  </a:lnTo>
                  <a:lnTo>
                    <a:pt x="136" y="60"/>
                  </a:lnTo>
                  <a:lnTo>
                    <a:pt x="17" y="60"/>
                  </a:lnTo>
                  <a:lnTo>
                    <a:pt x="17" y="77"/>
                  </a:lnTo>
                  <a:lnTo>
                    <a:pt x="33" y="77"/>
                  </a:lnTo>
                  <a:cubicBezTo>
                    <a:pt x="33" y="53"/>
                    <a:pt x="53" y="34"/>
                    <a:pt x="76" y="34"/>
                  </a:cubicBezTo>
                  <a:lnTo>
                    <a:pt x="76" y="1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5" name="Freeform 221">
              <a:extLst>
                <a:ext uri="{FF2B5EF4-FFF2-40B4-BE49-F238E27FC236}">
                  <a16:creationId xmlns:a16="http://schemas.microsoft.com/office/drawing/2014/main" id="{7A0EF2AE-1DA6-4416-AFE0-6B45497B91B8}"/>
                </a:ext>
              </a:extLst>
            </p:cNvPr>
            <p:cNvSpPr>
              <a:spLocks/>
            </p:cNvSpPr>
            <p:nvPr/>
          </p:nvSpPr>
          <p:spPr bwMode="auto">
            <a:xfrm>
              <a:off x="4456113" y="6538913"/>
              <a:ext cx="26988" cy="12700"/>
            </a:xfrm>
            <a:custGeom>
              <a:avLst/>
              <a:gdLst>
                <a:gd name="T0" fmla="*/ 4 w 131"/>
                <a:gd name="T1" fmla="*/ 35 h 58"/>
                <a:gd name="T2" fmla="*/ 4 w 131"/>
                <a:gd name="T3" fmla="*/ 35 h 58"/>
                <a:gd name="T4" fmla="*/ 25 w 131"/>
                <a:gd name="T5" fmla="*/ 34 h 58"/>
                <a:gd name="T6" fmla="*/ 70 w 131"/>
                <a:gd name="T7" fmla="*/ 39 h 58"/>
                <a:gd name="T8" fmla="*/ 105 w 131"/>
                <a:gd name="T9" fmla="*/ 58 h 58"/>
                <a:gd name="T10" fmla="*/ 131 w 131"/>
                <a:gd name="T11" fmla="*/ 38 h 58"/>
                <a:gd name="T12" fmla="*/ 78 w 131"/>
                <a:gd name="T13" fmla="*/ 7 h 58"/>
                <a:gd name="T14" fmla="*/ 25 w 131"/>
                <a:gd name="T15" fmla="*/ 0 h 58"/>
                <a:gd name="T16" fmla="*/ 0 w 131"/>
                <a:gd name="T17" fmla="*/ 2 h 58"/>
                <a:gd name="T18" fmla="*/ 4 w 131"/>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58">
                  <a:moveTo>
                    <a:pt x="4" y="35"/>
                  </a:moveTo>
                  <a:lnTo>
                    <a:pt x="4" y="35"/>
                  </a:lnTo>
                  <a:cubicBezTo>
                    <a:pt x="6" y="35"/>
                    <a:pt x="14" y="34"/>
                    <a:pt x="25" y="34"/>
                  </a:cubicBezTo>
                  <a:cubicBezTo>
                    <a:pt x="38" y="34"/>
                    <a:pt x="55" y="35"/>
                    <a:pt x="70" y="39"/>
                  </a:cubicBezTo>
                  <a:cubicBezTo>
                    <a:pt x="85" y="43"/>
                    <a:pt x="98" y="49"/>
                    <a:pt x="105" y="58"/>
                  </a:cubicBezTo>
                  <a:lnTo>
                    <a:pt x="131" y="38"/>
                  </a:lnTo>
                  <a:cubicBezTo>
                    <a:pt x="118" y="20"/>
                    <a:pt x="98" y="11"/>
                    <a:pt x="78" y="7"/>
                  </a:cubicBezTo>
                  <a:cubicBezTo>
                    <a:pt x="59" y="1"/>
                    <a:pt x="40" y="0"/>
                    <a:pt x="25" y="0"/>
                  </a:cubicBezTo>
                  <a:cubicBezTo>
                    <a:pt x="11" y="0"/>
                    <a:pt x="1" y="1"/>
                    <a:pt x="0" y="2"/>
                  </a:cubicBezTo>
                  <a:lnTo>
                    <a:pt x="4" y="3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96" name="Image 395" descr="Une image contenant texte, pièce&#10;&#10;Description générée automatiquement">
            <a:extLst>
              <a:ext uri="{FF2B5EF4-FFF2-40B4-BE49-F238E27FC236}">
                <a16:creationId xmlns:a16="http://schemas.microsoft.com/office/drawing/2014/main" id="{865F9F66-CEDD-46FD-B1F5-264C96F7FF40}"/>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5883493" y="2560485"/>
            <a:ext cx="770676" cy="584200"/>
          </a:xfrm>
          <a:prstGeom prst="rect">
            <a:avLst/>
          </a:prstGeom>
        </p:spPr>
      </p:pic>
      <p:cxnSp>
        <p:nvCxnSpPr>
          <p:cNvPr id="397" name="Connecteur droit avec flèche 396">
            <a:extLst>
              <a:ext uri="{FF2B5EF4-FFF2-40B4-BE49-F238E27FC236}">
                <a16:creationId xmlns:a16="http://schemas.microsoft.com/office/drawing/2014/main" id="{C6C2F546-7E2A-431E-B0B4-E4478D8E2691}"/>
              </a:ext>
            </a:extLst>
          </p:cNvPr>
          <p:cNvCxnSpPr>
            <a:cxnSpLocks/>
          </p:cNvCxnSpPr>
          <p:nvPr/>
        </p:nvCxnSpPr>
        <p:spPr>
          <a:xfrm>
            <a:off x="5854550" y="3260855"/>
            <a:ext cx="1901998" cy="0"/>
          </a:xfrm>
          <a:prstGeom prst="straightConnector1">
            <a:avLst/>
          </a:prstGeom>
          <a:ln w="19050">
            <a:solidFill>
              <a:srgbClr val="1B9D91"/>
            </a:solidFill>
            <a:tailEnd type="triangle"/>
          </a:ln>
        </p:spPr>
        <p:style>
          <a:lnRef idx="1">
            <a:schemeClr val="accent1"/>
          </a:lnRef>
          <a:fillRef idx="0">
            <a:schemeClr val="accent1"/>
          </a:fillRef>
          <a:effectRef idx="0">
            <a:schemeClr val="accent1"/>
          </a:effectRef>
          <a:fontRef idx="minor">
            <a:schemeClr val="tx1"/>
          </a:fontRef>
        </p:style>
      </p:cxnSp>
      <p:sp>
        <p:nvSpPr>
          <p:cNvPr id="398" name="Arrow24" descr="{&quot;Key&quot;:&quot;POWER_USER_SHAPE_ICON&quot;,&quot;Value&quot;:&quot;POWER_USER_SHAPE_ICON_STYLE_1&quot;}">
            <a:extLst>
              <a:ext uri="{FF2B5EF4-FFF2-40B4-BE49-F238E27FC236}">
                <a16:creationId xmlns:a16="http://schemas.microsoft.com/office/drawing/2014/main" id="{EE47772F-A430-419D-B962-411C6EE09933}"/>
              </a:ext>
            </a:extLst>
          </p:cNvPr>
          <p:cNvSpPr>
            <a:spLocks noChangeAspect="1"/>
          </p:cNvSpPr>
          <p:nvPr/>
        </p:nvSpPr>
        <p:spPr bwMode="auto">
          <a:xfrm rot="15666150" flipV="1">
            <a:off x="6372983" y="2677579"/>
            <a:ext cx="692538" cy="2188020"/>
          </a:xfrm>
          <a:custGeom>
            <a:avLst/>
            <a:gdLst>
              <a:gd name="T0" fmla="*/ 657 w 952"/>
              <a:gd name="T1" fmla="*/ 1166 h 1430"/>
              <a:gd name="T2" fmla="*/ 637 w 952"/>
              <a:gd name="T3" fmla="*/ 1160 h 1430"/>
              <a:gd name="T4" fmla="*/ 614 w 952"/>
              <a:gd name="T5" fmla="*/ 1151 h 1430"/>
              <a:gd name="T6" fmla="*/ 591 w 952"/>
              <a:gd name="T7" fmla="*/ 1142 h 1430"/>
              <a:gd name="T8" fmla="*/ 490 w 952"/>
              <a:gd name="T9" fmla="*/ 1095 h 1430"/>
              <a:gd name="T10" fmla="*/ 267 w 952"/>
              <a:gd name="T11" fmla="*/ 923 h 1430"/>
              <a:gd name="T12" fmla="*/ 171 w 952"/>
              <a:gd name="T13" fmla="*/ 796 h 1430"/>
              <a:gd name="T14" fmla="*/ 106 w 952"/>
              <a:gd name="T15" fmla="*/ 645 h 1430"/>
              <a:gd name="T16" fmla="*/ 90 w 952"/>
              <a:gd name="T17" fmla="*/ 564 h 1430"/>
              <a:gd name="T18" fmla="*/ 89 w 952"/>
              <a:gd name="T19" fmla="*/ 482 h 1430"/>
              <a:gd name="T20" fmla="*/ 100 w 952"/>
              <a:gd name="T21" fmla="*/ 402 h 1430"/>
              <a:gd name="T22" fmla="*/ 111 w 952"/>
              <a:gd name="T23" fmla="*/ 364 h 1430"/>
              <a:gd name="T24" fmla="*/ 113 w 952"/>
              <a:gd name="T25" fmla="*/ 359 h 1430"/>
              <a:gd name="T26" fmla="*/ 113 w 952"/>
              <a:gd name="T27" fmla="*/ 358 h 1430"/>
              <a:gd name="T28" fmla="*/ 113 w 952"/>
              <a:gd name="T29" fmla="*/ 359 h 1430"/>
              <a:gd name="T30" fmla="*/ 113 w 952"/>
              <a:gd name="T31" fmla="*/ 358 h 1430"/>
              <a:gd name="T32" fmla="*/ 114 w 952"/>
              <a:gd name="T33" fmla="*/ 355 h 1430"/>
              <a:gd name="T34" fmla="*/ 118 w 952"/>
              <a:gd name="T35" fmla="*/ 345 h 1430"/>
              <a:gd name="T36" fmla="*/ 126 w 952"/>
              <a:gd name="T37" fmla="*/ 326 h 1430"/>
              <a:gd name="T38" fmla="*/ 143 w 952"/>
              <a:gd name="T39" fmla="*/ 291 h 1430"/>
              <a:gd name="T40" fmla="*/ 162 w 952"/>
              <a:gd name="T41" fmla="*/ 258 h 1430"/>
              <a:gd name="T42" fmla="*/ 184 w 952"/>
              <a:gd name="T43" fmla="*/ 227 h 1430"/>
              <a:gd name="T44" fmla="*/ 208 w 952"/>
              <a:gd name="T45" fmla="*/ 198 h 1430"/>
              <a:gd name="T46" fmla="*/ 314 w 952"/>
              <a:gd name="T47" fmla="*/ 107 h 1430"/>
              <a:gd name="T48" fmla="*/ 420 w 952"/>
              <a:gd name="T49" fmla="*/ 50 h 1430"/>
              <a:gd name="T50" fmla="*/ 467 w 952"/>
              <a:gd name="T51" fmla="*/ 31 h 1430"/>
              <a:gd name="T52" fmla="*/ 509 w 952"/>
              <a:gd name="T53" fmla="*/ 18 h 1430"/>
              <a:gd name="T54" fmla="*/ 542 w 952"/>
              <a:gd name="T55" fmla="*/ 9 h 1430"/>
              <a:gd name="T56" fmla="*/ 568 w 952"/>
              <a:gd name="T57" fmla="*/ 4 h 1430"/>
              <a:gd name="T58" fmla="*/ 589 w 952"/>
              <a:gd name="T59" fmla="*/ 0 h 1430"/>
              <a:gd name="T60" fmla="*/ 567 w 952"/>
              <a:gd name="T61" fmla="*/ 2 h 1430"/>
              <a:gd name="T62" fmla="*/ 541 w 952"/>
              <a:gd name="T63" fmla="*/ 5 h 1430"/>
              <a:gd name="T64" fmla="*/ 507 w 952"/>
              <a:gd name="T65" fmla="*/ 10 h 1430"/>
              <a:gd name="T66" fmla="*/ 464 w 952"/>
              <a:gd name="T67" fmla="*/ 19 h 1430"/>
              <a:gd name="T68" fmla="*/ 414 w 952"/>
              <a:gd name="T69" fmla="*/ 32 h 1430"/>
              <a:gd name="T70" fmla="*/ 298 w 952"/>
              <a:gd name="T71" fmla="*/ 80 h 1430"/>
              <a:gd name="T72" fmla="*/ 175 w 952"/>
              <a:gd name="T73" fmla="*/ 165 h 1430"/>
              <a:gd name="T74" fmla="*/ 69 w 952"/>
              <a:gd name="T75" fmla="*/ 299 h 1430"/>
              <a:gd name="T76" fmla="*/ 59 w 952"/>
              <a:gd name="T77" fmla="*/ 318 h 1430"/>
              <a:gd name="T78" fmla="*/ 54 w 952"/>
              <a:gd name="T79" fmla="*/ 327 h 1430"/>
              <a:gd name="T80" fmla="*/ 53 w 952"/>
              <a:gd name="T81" fmla="*/ 330 h 1430"/>
              <a:gd name="T82" fmla="*/ 52 w 952"/>
              <a:gd name="T83" fmla="*/ 331 h 1430"/>
              <a:gd name="T84" fmla="*/ 51 w 952"/>
              <a:gd name="T85" fmla="*/ 333 h 1430"/>
              <a:gd name="T86" fmla="*/ 49 w 952"/>
              <a:gd name="T87" fmla="*/ 339 h 1430"/>
              <a:gd name="T88" fmla="*/ 31 w 952"/>
              <a:gd name="T89" fmla="*/ 382 h 1430"/>
              <a:gd name="T90" fmla="*/ 8 w 952"/>
              <a:gd name="T91" fmla="*/ 473 h 1430"/>
              <a:gd name="T92" fmla="*/ 0 w 952"/>
              <a:gd name="T93" fmla="*/ 569 h 1430"/>
              <a:gd name="T94" fmla="*/ 8 w 952"/>
              <a:gd name="T95" fmla="*/ 666 h 1430"/>
              <a:gd name="T96" fmla="*/ 65 w 952"/>
              <a:gd name="T97" fmla="*/ 850 h 1430"/>
              <a:gd name="T98" fmla="*/ 161 w 952"/>
              <a:gd name="T99" fmla="*/ 1010 h 1430"/>
              <a:gd name="T100" fmla="*/ 401 w 952"/>
              <a:gd name="T101" fmla="*/ 1238 h 1430"/>
              <a:gd name="T102" fmla="*/ 516 w 952"/>
              <a:gd name="T103" fmla="*/ 1308 h 1430"/>
              <a:gd name="T104" fmla="*/ 541 w 952"/>
              <a:gd name="T105" fmla="*/ 1320 h 1430"/>
              <a:gd name="T106" fmla="*/ 563 w 952"/>
              <a:gd name="T107" fmla="*/ 1332 h 1430"/>
              <a:gd name="T108" fmla="*/ 605 w 952"/>
              <a:gd name="T109" fmla="*/ 1350 h 1430"/>
              <a:gd name="T110" fmla="*/ 582 w 952"/>
              <a:gd name="T111" fmla="*/ 1430 h 1430"/>
              <a:gd name="T112" fmla="*/ 952 w 952"/>
              <a:gd name="T113" fmla="*/ 1337 h 1430"/>
              <a:gd name="T114" fmla="*/ 687 w 952"/>
              <a:gd name="T115" fmla="*/ 1063 h 1430"/>
              <a:gd name="T116" fmla="*/ 657 w 952"/>
              <a:gd name="T117" fmla="*/ 116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52" h="1430">
                <a:moveTo>
                  <a:pt x="657" y="1166"/>
                </a:moveTo>
                <a:cubicBezTo>
                  <a:pt x="651" y="1164"/>
                  <a:pt x="644" y="1162"/>
                  <a:pt x="637" y="1160"/>
                </a:cubicBezTo>
                <a:cubicBezTo>
                  <a:pt x="630" y="1157"/>
                  <a:pt x="622" y="1154"/>
                  <a:pt x="614" y="1151"/>
                </a:cubicBezTo>
                <a:cubicBezTo>
                  <a:pt x="606" y="1148"/>
                  <a:pt x="598" y="1145"/>
                  <a:pt x="591" y="1142"/>
                </a:cubicBezTo>
                <a:cubicBezTo>
                  <a:pt x="562" y="1131"/>
                  <a:pt x="526" y="1114"/>
                  <a:pt x="490" y="1095"/>
                </a:cubicBezTo>
                <a:cubicBezTo>
                  <a:pt x="417" y="1056"/>
                  <a:pt x="337" y="999"/>
                  <a:pt x="267" y="923"/>
                </a:cubicBezTo>
                <a:cubicBezTo>
                  <a:pt x="231" y="885"/>
                  <a:pt x="199" y="842"/>
                  <a:pt x="171" y="796"/>
                </a:cubicBezTo>
                <a:cubicBezTo>
                  <a:pt x="143" y="749"/>
                  <a:pt x="120" y="698"/>
                  <a:pt x="106" y="645"/>
                </a:cubicBezTo>
                <a:cubicBezTo>
                  <a:pt x="99" y="618"/>
                  <a:pt x="94" y="591"/>
                  <a:pt x="90" y="564"/>
                </a:cubicBezTo>
                <a:cubicBezTo>
                  <a:pt x="88" y="537"/>
                  <a:pt x="87" y="509"/>
                  <a:pt x="89" y="482"/>
                </a:cubicBezTo>
                <a:cubicBezTo>
                  <a:pt x="90" y="455"/>
                  <a:pt x="94" y="428"/>
                  <a:pt x="100" y="402"/>
                </a:cubicBezTo>
                <a:cubicBezTo>
                  <a:pt x="103" y="389"/>
                  <a:pt x="107" y="376"/>
                  <a:pt x="111" y="364"/>
                </a:cubicBezTo>
                <a:lnTo>
                  <a:pt x="113" y="359"/>
                </a:lnTo>
                <a:lnTo>
                  <a:pt x="113" y="358"/>
                </a:lnTo>
                <a:cubicBezTo>
                  <a:pt x="113" y="358"/>
                  <a:pt x="112" y="360"/>
                  <a:pt x="113" y="359"/>
                </a:cubicBezTo>
                <a:lnTo>
                  <a:pt x="113" y="358"/>
                </a:lnTo>
                <a:lnTo>
                  <a:pt x="114" y="355"/>
                </a:lnTo>
                <a:lnTo>
                  <a:pt x="118" y="345"/>
                </a:lnTo>
                <a:lnTo>
                  <a:pt x="126" y="326"/>
                </a:lnTo>
                <a:cubicBezTo>
                  <a:pt x="131" y="314"/>
                  <a:pt x="137" y="303"/>
                  <a:pt x="143" y="291"/>
                </a:cubicBezTo>
                <a:cubicBezTo>
                  <a:pt x="149" y="280"/>
                  <a:pt x="156" y="269"/>
                  <a:pt x="162" y="258"/>
                </a:cubicBezTo>
                <a:cubicBezTo>
                  <a:pt x="170" y="247"/>
                  <a:pt x="177" y="237"/>
                  <a:pt x="184" y="227"/>
                </a:cubicBezTo>
                <a:cubicBezTo>
                  <a:pt x="192" y="217"/>
                  <a:pt x="200" y="207"/>
                  <a:pt x="208" y="198"/>
                </a:cubicBezTo>
                <a:cubicBezTo>
                  <a:pt x="241" y="161"/>
                  <a:pt x="277" y="131"/>
                  <a:pt x="314" y="107"/>
                </a:cubicBezTo>
                <a:cubicBezTo>
                  <a:pt x="351" y="83"/>
                  <a:pt x="387" y="64"/>
                  <a:pt x="420" y="50"/>
                </a:cubicBezTo>
                <a:cubicBezTo>
                  <a:pt x="437" y="43"/>
                  <a:pt x="453" y="37"/>
                  <a:pt x="467" y="31"/>
                </a:cubicBezTo>
                <a:cubicBezTo>
                  <a:pt x="482" y="27"/>
                  <a:pt x="496" y="22"/>
                  <a:pt x="509" y="18"/>
                </a:cubicBezTo>
                <a:cubicBezTo>
                  <a:pt x="521" y="15"/>
                  <a:pt x="532" y="12"/>
                  <a:pt x="542" y="9"/>
                </a:cubicBezTo>
                <a:cubicBezTo>
                  <a:pt x="552" y="7"/>
                  <a:pt x="561" y="6"/>
                  <a:pt x="568" y="4"/>
                </a:cubicBezTo>
                <a:cubicBezTo>
                  <a:pt x="581" y="1"/>
                  <a:pt x="589" y="0"/>
                  <a:pt x="589" y="0"/>
                </a:cubicBezTo>
                <a:cubicBezTo>
                  <a:pt x="589" y="0"/>
                  <a:pt x="581" y="0"/>
                  <a:pt x="567" y="2"/>
                </a:cubicBezTo>
                <a:cubicBezTo>
                  <a:pt x="560" y="3"/>
                  <a:pt x="552" y="3"/>
                  <a:pt x="541" y="5"/>
                </a:cubicBezTo>
                <a:cubicBezTo>
                  <a:pt x="531" y="6"/>
                  <a:pt x="520" y="8"/>
                  <a:pt x="507" y="10"/>
                </a:cubicBezTo>
                <a:cubicBezTo>
                  <a:pt x="494" y="12"/>
                  <a:pt x="479" y="15"/>
                  <a:pt x="464" y="19"/>
                </a:cubicBezTo>
                <a:cubicBezTo>
                  <a:pt x="448" y="23"/>
                  <a:pt x="431" y="27"/>
                  <a:pt x="414" y="32"/>
                </a:cubicBezTo>
                <a:cubicBezTo>
                  <a:pt x="378" y="43"/>
                  <a:pt x="339" y="59"/>
                  <a:pt x="298" y="80"/>
                </a:cubicBezTo>
                <a:cubicBezTo>
                  <a:pt x="257" y="101"/>
                  <a:pt x="215" y="129"/>
                  <a:pt x="175" y="165"/>
                </a:cubicBezTo>
                <a:cubicBezTo>
                  <a:pt x="135" y="202"/>
                  <a:pt x="99" y="245"/>
                  <a:pt x="69" y="299"/>
                </a:cubicBezTo>
                <a:lnTo>
                  <a:pt x="59" y="318"/>
                </a:lnTo>
                <a:lnTo>
                  <a:pt x="54" y="327"/>
                </a:lnTo>
                <a:lnTo>
                  <a:pt x="53" y="330"/>
                </a:lnTo>
                <a:lnTo>
                  <a:pt x="52" y="331"/>
                </a:lnTo>
                <a:lnTo>
                  <a:pt x="51" y="333"/>
                </a:lnTo>
                <a:lnTo>
                  <a:pt x="49" y="339"/>
                </a:lnTo>
                <a:cubicBezTo>
                  <a:pt x="42" y="353"/>
                  <a:pt x="36" y="367"/>
                  <a:pt x="31" y="382"/>
                </a:cubicBezTo>
                <a:cubicBezTo>
                  <a:pt x="21" y="411"/>
                  <a:pt x="13" y="441"/>
                  <a:pt x="8" y="473"/>
                </a:cubicBezTo>
                <a:cubicBezTo>
                  <a:pt x="2" y="504"/>
                  <a:pt x="0" y="537"/>
                  <a:pt x="0" y="569"/>
                </a:cubicBezTo>
                <a:cubicBezTo>
                  <a:pt x="1" y="601"/>
                  <a:pt x="3" y="634"/>
                  <a:pt x="8" y="666"/>
                </a:cubicBezTo>
                <a:cubicBezTo>
                  <a:pt x="19" y="730"/>
                  <a:pt x="39" y="792"/>
                  <a:pt x="65" y="850"/>
                </a:cubicBezTo>
                <a:cubicBezTo>
                  <a:pt x="92" y="908"/>
                  <a:pt x="125" y="962"/>
                  <a:pt x="161" y="1010"/>
                </a:cubicBezTo>
                <a:cubicBezTo>
                  <a:pt x="234" y="1108"/>
                  <a:pt x="321" y="1183"/>
                  <a:pt x="401" y="1238"/>
                </a:cubicBezTo>
                <a:cubicBezTo>
                  <a:pt x="442" y="1266"/>
                  <a:pt x="478" y="1288"/>
                  <a:pt x="516" y="1308"/>
                </a:cubicBezTo>
                <a:cubicBezTo>
                  <a:pt x="525" y="1313"/>
                  <a:pt x="533" y="1317"/>
                  <a:pt x="541" y="1320"/>
                </a:cubicBezTo>
                <a:cubicBezTo>
                  <a:pt x="548" y="1324"/>
                  <a:pt x="556" y="1328"/>
                  <a:pt x="563" y="1332"/>
                </a:cubicBezTo>
                <a:cubicBezTo>
                  <a:pt x="578" y="1338"/>
                  <a:pt x="592" y="1344"/>
                  <a:pt x="605" y="1350"/>
                </a:cubicBezTo>
                <a:lnTo>
                  <a:pt x="582" y="1430"/>
                </a:lnTo>
                <a:lnTo>
                  <a:pt x="952" y="1337"/>
                </a:lnTo>
                <a:lnTo>
                  <a:pt x="687" y="1063"/>
                </a:lnTo>
                <a:lnTo>
                  <a:pt x="657" y="1166"/>
                </a:lnTo>
              </a:path>
            </a:pathLst>
          </a:custGeom>
          <a:noFill/>
          <a:ln w="19050">
            <a:solidFill>
              <a:srgbClr val="92D05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0" name="ZoneTexte 399">
            <a:extLst>
              <a:ext uri="{FF2B5EF4-FFF2-40B4-BE49-F238E27FC236}">
                <a16:creationId xmlns:a16="http://schemas.microsoft.com/office/drawing/2014/main" id="{83B68DCD-3DCB-449D-AE05-EF566B039FFD}"/>
              </a:ext>
            </a:extLst>
          </p:cNvPr>
          <p:cNvSpPr txBox="1"/>
          <p:nvPr/>
        </p:nvSpPr>
        <p:spPr>
          <a:xfrm>
            <a:off x="6880132" y="2363721"/>
            <a:ext cx="837812" cy="230832"/>
          </a:xfrm>
          <a:prstGeom prst="rect">
            <a:avLst/>
          </a:prstGeom>
          <a:noFill/>
        </p:spPr>
        <p:txBody>
          <a:bodyPr wrap="square" rtlCol="0">
            <a:spAutoFit/>
          </a:bodyPr>
          <a:lstStyle/>
          <a:p>
            <a:pPr algn="ctr"/>
            <a:r>
              <a:rPr lang="fr-FR" sz="900" b="1" dirty="0" err="1">
                <a:solidFill>
                  <a:srgbClr val="1B9D91"/>
                </a:solidFill>
              </a:rPr>
              <a:t>Market</a:t>
            </a:r>
            <a:endParaRPr lang="fr-FR" sz="900" b="1" dirty="0">
              <a:solidFill>
                <a:srgbClr val="1B9D91"/>
              </a:solidFill>
            </a:endParaRPr>
          </a:p>
        </p:txBody>
      </p:sp>
      <p:sp>
        <p:nvSpPr>
          <p:cNvPr id="401" name="Est égal à 400">
            <a:extLst>
              <a:ext uri="{FF2B5EF4-FFF2-40B4-BE49-F238E27FC236}">
                <a16:creationId xmlns:a16="http://schemas.microsoft.com/office/drawing/2014/main" id="{33CD79F3-B8BA-4827-BAFE-B5A29F8A5988}"/>
              </a:ext>
            </a:extLst>
          </p:cNvPr>
          <p:cNvSpPr/>
          <p:nvPr/>
        </p:nvSpPr>
        <p:spPr>
          <a:xfrm>
            <a:off x="6604429" y="4355493"/>
            <a:ext cx="308201" cy="282390"/>
          </a:xfrm>
          <a:prstGeom prst="mathEqual">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nvGrpSpPr>
          <p:cNvPr id="402" name="Line_chart5" descr="{&quot;Key&quot;:&quot;POWER_USER_SHAPE_ICON&quot;,&quot;Value&quot;:&quot;POWER_USER_SHAPE_ICON_STYLE_1&quot;}">
            <a:extLst>
              <a:ext uri="{FF2B5EF4-FFF2-40B4-BE49-F238E27FC236}">
                <a16:creationId xmlns:a16="http://schemas.microsoft.com/office/drawing/2014/main" id="{BE3118AD-1D1F-401C-A574-CC7AC65A501E}"/>
              </a:ext>
            </a:extLst>
          </p:cNvPr>
          <p:cNvGrpSpPr>
            <a:grpSpLocks noChangeAspect="1"/>
          </p:cNvGrpSpPr>
          <p:nvPr>
            <p:custDataLst>
              <p:tags r:id="rId6"/>
            </p:custDataLst>
          </p:nvPr>
        </p:nvGrpSpPr>
        <p:grpSpPr>
          <a:xfrm>
            <a:off x="7047466" y="4279510"/>
            <a:ext cx="466655" cy="434356"/>
            <a:chOff x="8358188" y="1762126"/>
            <a:chExt cx="665163" cy="619125"/>
          </a:xfrm>
          <a:solidFill>
            <a:srgbClr val="92D050"/>
          </a:solidFill>
        </p:grpSpPr>
        <p:sp>
          <p:nvSpPr>
            <p:cNvPr id="403" name="Freeform 8">
              <a:extLst>
                <a:ext uri="{FF2B5EF4-FFF2-40B4-BE49-F238E27FC236}">
                  <a16:creationId xmlns:a16="http://schemas.microsoft.com/office/drawing/2014/main" id="{B506DCE3-C48D-4B23-A52D-F368C114A9D9}"/>
                </a:ext>
              </a:extLst>
            </p:cNvPr>
            <p:cNvSpPr>
              <a:spLocks/>
            </p:cNvSpPr>
            <p:nvPr/>
          </p:nvSpPr>
          <p:spPr bwMode="auto">
            <a:xfrm>
              <a:off x="8358188" y="1762126"/>
              <a:ext cx="665163" cy="619125"/>
            </a:xfrm>
            <a:custGeom>
              <a:avLst/>
              <a:gdLst>
                <a:gd name="T0" fmla="*/ 419 w 419"/>
                <a:gd name="T1" fmla="*/ 390 h 390"/>
                <a:gd name="T2" fmla="*/ 0 w 419"/>
                <a:gd name="T3" fmla="*/ 390 h 390"/>
                <a:gd name="T4" fmla="*/ 0 w 419"/>
                <a:gd name="T5" fmla="*/ 0 h 390"/>
                <a:gd name="T6" fmla="*/ 30 w 419"/>
                <a:gd name="T7" fmla="*/ 0 h 390"/>
                <a:gd name="T8" fmla="*/ 30 w 419"/>
                <a:gd name="T9" fmla="*/ 359 h 390"/>
                <a:gd name="T10" fmla="*/ 419 w 419"/>
                <a:gd name="T11" fmla="*/ 359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59"/>
                  </a:lnTo>
                  <a:lnTo>
                    <a:pt x="419" y="359"/>
                  </a:lnTo>
                  <a:lnTo>
                    <a:pt x="419" y="3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4" name="Freeform 94">
              <a:extLst>
                <a:ext uri="{FF2B5EF4-FFF2-40B4-BE49-F238E27FC236}">
                  <a16:creationId xmlns:a16="http://schemas.microsoft.com/office/drawing/2014/main" id="{E40DED9F-541E-43A9-87E8-0600D8C7A1F7}"/>
                </a:ext>
              </a:extLst>
            </p:cNvPr>
            <p:cNvSpPr>
              <a:spLocks/>
            </p:cNvSpPr>
            <p:nvPr/>
          </p:nvSpPr>
          <p:spPr bwMode="auto">
            <a:xfrm>
              <a:off x="8359776" y="1857376"/>
              <a:ext cx="663575" cy="476250"/>
            </a:xfrm>
            <a:custGeom>
              <a:avLst/>
              <a:gdLst>
                <a:gd name="T0" fmla="*/ 872 w 872"/>
                <a:gd name="T1" fmla="*/ 161 h 625"/>
                <a:gd name="T2" fmla="*/ 751 w 872"/>
                <a:gd name="T3" fmla="*/ 199 h 625"/>
                <a:gd name="T4" fmla="*/ 670 w 872"/>
                <a:gd name="T5" fmla="*/ 102 h 625"/>
                <a:gd name="T6" fmla="*/ 578 w 872"/>
                <a:gd name="T7" fmla="*/ 6 h 625"/>
                <a:gd name="T8" fmla="*/ 504 w 872"/>
                <a:gd name="T9" fmla="*/ 24 h 625"/>
                <a:gd name="T10" fmla="*/ 431 w 872"/>
                <a:gd name="T11" fmla="*/ 248 h 625"/>
                <a:gd name="T12" fmla="*/ 402 w 872"/>
                <a:gd name="T13" fmla="*/ 391 h 625"/>
                <a:gd name="T14" fmla="*/ 373 w 872"/>
                <a:gd name="T15" fmla="*/ 437 h 625"/>
                <a:gd name="T16" fmla="*/ 282 w 872"/>
                <a:gd name="T17" fmla="*/ 383 h 625"/>
                <a:gd name="T18" fmla="*/ 208 w 872"/>
                <a:gd name="T19" fmla="*/ 334 h 625"/>
                <a:gd name="T20" fmla="*/ 111 w 872"/>
                <a:gd name="T21" fmla="*/ 358 h 625"/>
                <a:gd name="T22" fmla="*/ 20 w 872"/>
                <a:gd name="T23" fmla="*/ 516 h 625"/>
                <a:gd name="T24" fmla="*/ 0 w 872"/>
                <a:gd name="T25" fmla="*/ 619 h 625"/>
                <a:gd name="T26" fmla="*/ 62 w 872"/>
                <a:gd name="T27" fmla="*/ 625 h 625"/>
                <a:gd name="T28" fmla="*/ 148 w 872"/>
                <a:gd name="T29" fmla="*/ 408 h 625"/>
                <a:gd name="T30" fmla="*/ 197 w 872"/>
                <a:gd name="T31" fmla="*/ 396 h 625"/>
                <a:gd name="T32" fmla="*/ 239 w 872"/>
                <a:gd name="T33" fmla="*/ 429 h 625"/>
                <a:gd name="T34" fmla="*/ 373 w 872"/>
                <a:gd name="T35" fmla="*/ 500 h 625"/>
                <a:gd name="T36" fmla="*/ 461 w 872"/>
                <a:gd name="T37" fmla="*/ 411 h 625"/>
                <a:gd name="T38" fmla="*/ 493 w 872"/>
                <a:gd name="T39" fmla="*/ 258 h 625"/>
                <a:gd name="T40" fmla="*/ 544 w 872"/>
                <a:gd name="T41" fmla="*/ 72 h 625"/>
                <a:gd name="T42" fmla="*/ 562 w 872"/>
                <a:gd name="T43" fmla="*/ 67 h 625"/>
                <a:gd name="T44" fmla="*/ 611 w 872"/>
                <a:gd name="T45" fmla="*/ 123 h 625"/>
                <a:gd name="T46" fmla="*/ 737 w 872"/>
                <a:gd name="T47" fmla="*/ 260 h 625"/>
                <a:gd name="T48" fmla="*/ 770 w 872"/>
                <a:gd name="T49" fmla="*/ 264 h 625"/>
                <a:gd name="T50" fmla="*/ 872 w 872"/>
                <a:gd name="T51" fmla="*/ 235 h 625"/>
                <a:gd name="T52" fmla="*/ 872 w 872"/>
                <a:gd name="T53" fmla="*/ 1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2" h="625">
                  <a:moveTo>
                    <a:pt x="872" y="161"/>
                  </a:moveTo>
                  <a:cubicBezTo>
                    <a:pt x="839" y="184"/>
                    <a:pt x="791" y="209"/>
                    <a:pt x="751" y="199"/>
                  </a:cubicBezTo>
                  <a:cubicBezTo>
                    <a:pt x="717" y="191"/>
                    <a:pt x="689" y="158"/>
                    <a:pt x="670" y="102"/>
                  </a:cubicBezTo>
                  <a:cubicBezTo>
                    <a:pt x="659" y="72"/>
                    <a:pt x="625" y="19"/>
                    <a:pt x="578" y="6"/>
                  </a:cubicBezTo>
                  <a:cubicBezTo>
                    <a:pt x="560" y="1"/>
                    <a:pt x="532" y="0"/>
                    <a:pt x="504" y="24"/>
                  </a:cubicBezTo>
                  <a:cubicBezTo>
                    <a:pt x="461" y="60"/>
                    <a:pt x="447" y="147"/>
                    <a:pt x="431" y="248"/>
                  </a:cubicBezTo>
                  <a:cubicBezTo>
                    <a:pt x="423" y="300"/>
                    <a:pt x="414" y="353"/>
                    <a:pt x="402" y="391"/>
                  </a:cubicBezTo>
                  <a:cubicBezTo>
                    <a:pt x="390" y="425"/>
                    <a:pt x="379" y="437"/>
                    <a:pt x="373" y="437"/>
                  </a:cubicBezTo>
                  <a:cubicBezTo>
                    <a:pt x="341" y="437"/>
                    <a:pt x="310" y="408"/>
                    <a:pt x="282" y="383"/>
                  </a:cubicBezTo>
                  <a:cubicBezTo>
                    <a:pt x="258" y="360"/>
                    <a:pt x="235" y="339"/>
                    <a:pt x="208" y="334"/>
                  </a:cubicBezTo>
                  <a:cubicBezTo>
                    <a:pt x="173" y="328"/>
                    <a:pt x="139" y="336"/>
                    <a:pt x="111" y="358"/>
                  </a:cubicBezTo>
                  <a:cubicBezTo>
                    <a:pt x="72" y="387"/>
                    <a:pt x="41" y="440"/>
                    <a:pt x="20" y="516"/>
                  </a:cubicBezTo>
                  <a:cubicBezTo>
                    <a:pt x="5" y="571"/>
                    <a:pt x="0" y="617"/>
                    <a:pt x="0" y="619"/>
                  </a:cubicBezTo>
                  <a:lnTo>
                    <a:pt x="62" y="625"/>
                  </a:lnTo>
                  <a:cubicBezTo>
                    <a:pt x="67" y="579"/>
                    <a:pt x="92" y="450"/>
                    <a:pt x="148" y="408"/>
                  </a:cubicBezTo>
                  <a:cubicBezTo>
                    <a:pt x="163" y="396"/>
                    <a:pt x="179" y="393"/>
                    <a:pt x="197" y="396"/>
                  </a:cubicBezTo>
                  <a:cubicBezTo>
                    <a:pt x="206" y="397"/>
                    <a:pt x="225" y="415"/>
                    <a:pt x="239" y="429"/>
                  </a:cubicBezTo>
                  <a:cubicBezTo>
                    <a:pt x="274" y="460"/>
                    <a:pt x="316" y="500"/>
                    <a:pt x="373" y="500"/>
                  </a:cubicBezTo>
                  <a:cubicBezTo>
                    <a:pt x="432" y="500"/>
                    <a:pt x="454" y="433"/>
                    <a:pt x="461" y="411"/>
                  </a:cubicBezTo>
                  <a:cubicBezTo>
                    <a:pt x="475" y="368"/>
                    <a:pt x="484" y="312"/>
                    <a:pt x="493" y="258"/>
                  </a:cubicBezTo>
                  <a:cubicBezTo>
                    <a:pt x="504" y="184"/>
                    <a:pt x="519" y="93"/>
                    <a:pt x="544" y="72"/>
                  </a:cubicBezTo>
                  <a:cubicBezTo>
                    <a:pt x="552" y="65"/>
                    <a:pt x="557" y="66"/>
                    <a:pt x="562" y="67"/>
                  </a:cubicBezTo>
                  <a:cubicBezTo>
                    <a:pt x="581" y="72"/>
                    <a:pt x="604" y="104"/>
                    <a:pt x="611" y="123"/>
                  </a:cubicBezTo>
                  <a:cubicBezTo>
                    <a:pt x="638" y="200"/>
                    <a:pt x="681" y="247"/>
                    <a:pt x="737" y="260"/>
                  </a:cubicBezTo>
                  <a:cubicBezTo>
                    <a:pt x="748" y="262"/>
                    <a:pt x="759" y="264"/>
                    <a:pt x="770" y="264"/>
                  </a:cubicBezTo>
                  <a:cubicBezTo>
                    <a:pt x="807" y="264"/>
                    <a:pt x="842" y="250"/>
                    <a:pt x="872" y="235"/>
                  </a:cubicBezTo>
                  <a:lnTo>
                    <a:pt x="872" y="161"/>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405" name="Connecteur droit 404">
            <a:extLst>
              <a:ext uri="{FF2B5EF4-FFF2-40B4-BE49-F238E27FC236}">
                <a16:creationId xmlns:a16="http://schemas.microsoft.com/office/drawing/2014/main" id="{92ED6B38-5F63-4703-A6C4-98F715503ABC}"/>
              </a:ext>
            </a:extLst>
          </p:cNvPr>
          <p:cNvCxnSpPr>
            <a:cxnSpLocks/>
          </p:cNvCxnSpPr>
          <p:nvPr/>
        </p:nvCxnSpPr>
        <p:spPr>
          <a:xfrm>
            <a:off x="7062278" y="4595748"/>
            <a:ext cx="648000" cy="0"/>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406" name="ZoneTexte 405">
            <a:extLst>
              <a:ext uri="{FF2B5EF4-FFF2-40B4-BE49-F238E27FC236}">
                <a16:creationId xmlns:a16="http://schemas.microsoft.com/office/drawing/2014/main" id="{CD8069C1-C153-48B8-B291-801F2A312EC2}"/>
              </a:ext>
            </a:extLst>
          </p:cNvPr>
          <p:cNvSpPr txBox="1"/>
          <p:nvPr/>
        </p:nvSpPr>
        <p:spPr>
          <a:xfrm>
            <a:off x="7685307" y="4380602"/>
            <a:ext cx="617884" cy="369332"/>
          </a:xfrm>
          <a:prstGeom prst="rect">
            <a:avLst/>
          </a:prstGeom>
          <a:noFill/>
        </p:spPr>
        <p:txBody>
          <a:bodyPr wrap="square" rtlCol="0">
            <a:spAutoFit/>
          </a:bodyPr>
          <a:lstStyle/>
          <a:p>
            <a:r>
              <a:rPr lang="fr-FR" sz="900" b="1" dirty="0" err="1">
                <a:solidFill>
                  <a:schemeClr val="accent2"/>
                </a:solidFill>
              </a:rPr>
              <a:t>Lower</a:t>
            </a:r>
            <a:r>
              <a:rPr lang="fr-FR" sz="900" b="1" dirty="0">
                <a:solidFill>
                  <a:schemeClr val="accent2"/>
                </a:solidFill>
              </a:rPr>
              <a:t> </a:t>
            </a:r>
            <a:r>
              <a:rPr lang="fr-FR" sz="900" b="1" dirty="0" err="1">
                <a:solidFill>
                  <a:schemeClr val="accent2"/>
                </a:solidFill>
              </a:rPr>
              <a:t>price</a:t>
            </a:r>
            <a:endParaRPr lang="fr-FR" sz="900" b="1" dirty="0">
              <a:solidFill>
                <a:schemeClr val="accent2"/>
              </a:solidFill>
            </a:endParaRPr>
          </a:p>
        </p:txBody>
      </p:sp>
      <p:pic>
        <p:nvPicPr>
          <p:cNvPr id="407" name="Image 406">
            <a:extLst>
              <a:ext uri="{FF2B5EF4-FFF2-40B4-BE49-F238E27FC236}">
                <a16:creationId xmlns:a16="http://schemas.microsoft.com/office/drawing/2014/main" id="{0208A88B-BF6A-4E84-BAFB-B1BA340C6E5C}"/>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838566" y="3502341"/>
            <a:ext cx="795538" cy="321715"/>
          </a:xfrm>
          <a:prstGeom prst="rect">
            <a:avLst/>
          </a:prstGeom>
        </p:spPr>
      </p:pic>
      <p:pic>
        <p:nvPicPr>
          <p:cNvPr id="408" name="Image 407">
            <a:extLst>
              <a:ext uri="{FF2B5EF4-FFF2-40B4-BE49-F238E27FC236}">
                <a16:creationId xmlns:a16="http://schemas.microsoft.com/office/drawing/2014/main" id="{4259B485-CF6B-4FC3-BEB3-84D38E2EC97A}"/>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044484" y="2711752"/>
            <a:ext cx="383703" cy="190161"/>
          </a:xfrm>
          <a:prstGeom prst="rect">
            <a:avLst/>
          </a:prstGeom>
        </p:spPr>
      </p:pic>
      <p:grpSp>
        <p:nvGrpSpPr>
          <p:cNvPr id="409" name="Global_finance2" descr="{&quot;Key&quot;:&quot;POWER_USER_SHAPE_ICON&quot;,&quot;Value&quot;:&quot;POWER_USER_SHAPE_ICON_STYLE_1&quot;}">
            <a:extLst>
              <a:ext uri="{FF2B5EF4-FFF2-40B4-BE49-F238E27FC236}">
                <a16:creationId xmlns:a16="http://schemas.microsoft.com/office/drawing/2014/main" id="{F7ECDBEF-E646-4A4C-8B22-14EFACF86375}"/>
              </a:ext>
            </a:extLst>
          </p:cNvPr>
          <p:cNvGrpSpPr>
            <a:grpSpLocks noChangeAspect="1"/>
          </p:cNvGrpSpPr>
          <p:nvPr/>
        </p:nvGrpSpPr>
        <p:grpSpPr>
          <a:xfrm>
            <a:off x="7002482" y="2628840"/>
            <a:ext cx="531267" cy="447491"/>
            <a:chOff x="4246563" y="5827713"/>
            <a:chExt cx="825500" cy="695325"/>
          </a:xfrm>
        </p:grpSpPr>
        <p:sp>
          <p:nvSpPr>
            <p:cNvPr id="410" name="Freeform 134">
              <a:extLst>
                <a:ext uri="{FF2B5EF4-FFF2-40B4-BE49-F238E27FC236}">
                  <a16:creationId xmlns:a16="http://schemas.microsoft.com/office/drawing/2014/main" id="{51B0D922-422B-489C-865F-74BEB210227D}"/>
                </a:ext>
              </a:extLst>
            </p:cNvPr>
            <p:cNvSpPr>
              <a:spLocks/>
            </p:cNvSpPr>
            <p:nvPr/>
          </p:nvSpPr>
          <p:spPr bwMode="auto">
            <a:xfrm>
              <a:off x="4622800" y="6002338"/>
              <a:ext cx="449263" cy="520700"/>
            </a:xfrm>
            <a:custGeom>
              <a:avLst/>
              <a:gdLst>
                <a:gd name="T0" fmla="*/ 291 w 597"/>
                <a:gd name="T1" fmla="*/ 534 h 692"/>
                <a:gd name="T2" fmla="*/ 215 w 597"/>
                <a:gd name="T3" fmla="*/ 492 h 692"/>
                <a:gd name="T4" fmla="*/ 82 w 597"/>
                <a:gd name="T5" fmla="*/ 492 h 692"/>
                <a:gd name="T6" fmla="*/ 228 w 597"/>
                <a:gd name="T7" fmla="*/ 635 h 692"/>
                <a:gd name="T8" fmla="*/ 229 w 597"/>
                <a:gd name="T9" fmla="*/ 692 h 692"/>
                <a:gd name="T10" fmla="*/ 352 w 597"/>
                <a:gd name="T11" fmla="*/ 692 h 692"/>
                <a:gd name="T12" fmla="*/ 352 w 597"/>
                <a:gd name="T13" fmla="*/ 635 h 692"/>
                <a:gd name="T14" fmla="*/ 309 w 597"/>
                <a:gd name="T15" fmla="*/ 296 h 692"/>
                <a:gd name="T16" fmla="*/ 219 w 597"/>
                <a:gd name="T17" fmla="*/ 263 h 692"/>
                <a:gd name="T18" fmla="*/ 291 w 597"/>
                <a:gd name="T19" fmla="*/ 164 h 692"/>
                <a:gd name="T20" fmla="*/ 373 w 597"/>
                <a:gd name="T21" fmla="*/ 234 h 692"/>
                <a:gd name="T22" fmla="*/ 502 w 597"/>
                <a:gd name="T23" fmla="*/ 234 h 692"/>
                <a:gd name="T24" fmla="*/ 352 w 597"/>
                <a:gd name="T25" fmla="*/ 64 h 692"/>
                <a:gd name="T26" fmla="*/ 352 w 597"/>
                <a:gd name="T27" fmla="*/ 0 h 692"/>
                <a:gd name="T28" fmla="*/ 229 w 597"/>
                <a:gd name="T29" fmla="*/ 0 h 692"/>
                <a:gd name="T30" fmla="*/ 228 w 597"/>
                <a:gd name="T31" fmla="*/ 64 h 692"/>
                <a:gd name="T32" fmla="*/ 288 w 597"/>
                <a:gd name="T33" fmla="*/ 411 h 692"/>
                <a:gd name="T34" fmla="*/ 361 w 597"/>
                <a:gd name="T35" fmla="*/ 437 h 692"/>
                <a:gd name="T36" fmla="*/ 291 w 597"/>
                <a:gd name="T37" fmla="*/ 534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7" h="692">
                  <a:moveTo>
                    <a:pt x="291" y="534"/>
                  </a:moveTo>
                  <a:cubicBezTo>
                    <a:pt x="257" y="534"/>
                    <a:pt x="227" y="517"/>
                    <a:pt x="215" y="492"/>
                  </a:cubicBezTo>
                  <a:lnTo>
                    <a:pt x="82" y="492"/>
                  </a:lnTo>
                  <a:cubicBezTo>
                    <a:pt x="94" y="560"/>
                    <a:pt x="152" y="615"/>
                    <a:pt x="228" y="635"/>
                  </a:cubicBezTo>
                  <a:lnTo>
                    <a:pt x="229" y="692"/>
                  </a:lnTo>
                  <a:lnTo>
                    <a:pt x="352" y="692"/>
                  </a:lnTo>
                  <a:lnTo>
                    <a:pt x="352" y="635"/>
                  </a:lnTo>
                  <a:cubicBezTo>
                    <a:pt x="525" y="601"/>
                    <a:pt x="597" y="333"/>
                    <a:pt x="309" y="296"/>
                  </a:cubicBezTo>
                  <a:cubicBezTo>
                    <a:pt x="251" y="288"/>
                    <a:pt x="230" y="272"/>
                    <a:pt x="219" y="263"/>
                  </a:cubicBezTo>
                  <a:cubicBezTo>
                    <a:pt x="196" y="242"/>
                    <a:pt x="208" y="164"/>
                    <a:pt x="291" y="164"/>
                  </a:cubicBezTo>
                  <a:cubicBezTo>
                    <a:pt x="336" y="164"/>
                    <a:pt x="373" y="196"/>
                    <a:pt x="373" y="234"/>
                  </a:cubicBezTo>
                  <a:lnTo>
                    <a:pt x="502" y="234"/>
                  </a:lnTo>
                  <a:cubicBezTo>
                    <a:pt x="502" y="154"/>
                    <a:pt x="439" y="86"/>
                    <a:pt x="352" y="64"/>
                  </a:cubicBezTo>
                  <a:lnTo>
                    <a:pt x="352" y="0"/>
                  </a:lnTo>
                  <a:lnTo>
                    <a:pt x="229" y="0"/>
                  </a:lnTo>
                  <a:lnTo>
                    <a:pt x="228" y="64"/>
                  </a:lnTo>
                  <a:cubicBezTo>
                    <a:pt x="37" y="112"/>
                    <a:pt x="0" y="378"/>
                    <a:pt x="288" y="411"/>
                  </a:cubicBezTo>
                  <a:cubicBezTo>
                    <a:pt x="329" y="416"/>
                    <a:pt x="352" y="429"/>
                    <a:pt x="361" y="437"/>
                  </a:cubicBezTo>
                  <a:cubicBezTo>
                    <a:pt x="388" y="462"/>
                    <a:pt x="373" y="534"/>
                    <a:pt x="291" y="534"/>
                  </a:cubicBezTo>
                  <a:close/>
                </a:path>
              </a:pathLst>
            </a:custGeom>
            <a:noFill/>
            <a:ln w="19050" cap="flat">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1" name="Freeform 135">
              <a:extLst>
                <a:ext uri="{FF2B5EF4-FFF2-40B4-BE49-F238E27FC236}">
                  <a16:creationId xmlns:a16="http://schemas.microsoft.com/office/drawing/2014/main" id="{BAE94A52-990C-42D9-82FF-1485E5C4729F}"/>
                </a:ext>
              </a:extLst>
            </p:cNvPr>
            <p:cNvSpPr>
              <a:spLocks/>
            </p:cNvSpPr>
            <p:nvPr/>
          </p:nvSpPr>
          <p:spPr bwMode="auto">
            <a:xfrm>
              <a:off x="4246563" y="5827713"/>
              <a:ext cx="604838" cy="639763"/>
            </a:xfrm>
            <a:custGeom>
              <a:avLst/>
              <a:gdLst>
                <a:gd name="T0" fmla="*/ 805 w 805"/>
                <a:gd name="T1" fmla="*/ 233 h 852"/>
                <a:gd name="T2" fmla="*/ 425 w 805"/>
                <a:gd name="T3" fmla="*/ 0 h 852"/>
                <a:gd name="T4" fmla="*/ 0 w 805"/>
                <a:gd name="T5" fmla="*/ 426 h 852"/>
                <a:gd name="T6" fmla="*/ 425 w 805"/>
                <a:gd name="T7" fmla="*/ 852 h 852"/>
                <a:gd name="T8" fmla="*/ 622 w 805"/>
                <a:gd name="T9" fmla="*/ 804 h 852"/>
              </a:gdLst>
              <a:ahLst/>
              <a:cxnLst>
                <a:cxn ang="0">
                  <a:pos x="T0" y="T1"/>
                </a:cxn>
                <a:cxn ang="0">
                  <a:pos x="T2" y="T3"/>
                </a:cxn>
                <a:cxn ang="0">
                  <a:pos x="T4" y="T5"/>
                </a:cxn>
                <a:cxn ang="0">
                  <a:pos x="T6" y="T7"/>
                </a:cxn>
                <a:cxn ang="0">
                  <a:pos x="T8" y="T9"/>
                </a:cxn>
              </a:cxnLst>
              <a:rect l="0" t="0" r="r" b="b"/>
              <a:pathLst>
                <a:path w="805" h="852">
                  <a:moveTo>
                    <a:pt x="805" y="233"/>
                  </a:moveTo>
                  <a:cubicBezTo>
                    <a:pt x="734" y="95"/>
                    <a:pt x="591" y="0"/>
                    <a:pt x="425" y="0"/>
                  </a:cubicBezTo>
                  <a:cubicBezTo>
                    <a:pt x="190" y="0"/>
                    <a:pt x="0" y="191"/>
                    <a:pt x="0" y="426"/>
                  </a:cubicBezTo>
                  <a:cubicBezTo>
                    <a:pt x="0" y="661"/>
                    <a:pt x="190" y="852"/>
                    <a:pt x="425" y="852"/>
                  </a:cubicBezTo>
                  <a:cubicBezTo>
                    <a:pt x="496" y="852"/>
                    <a:pt x="563" y="835"/>
                    <a:pt x="622" y="804"/>
                  </a:cubicBez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2" name="Freeform 136">
              <a:extLst>
                <a:ext uri="{FF2B5EF4-FFF2-40B4-BE49-F238E27FC236}">
                  <a16:creationId xmlns:a16="http://schemas.microsoft.com/office/drawing/2014/main" id="{B135C16F-4AD4-4A1B-9609-4809A5746451}"/>
                </a:ext>
              </a:extLst>
            </p:cNvPr>
            <p:cNvSpPr>
              <a:spLocks/>
            </p:cNvSpPr>
            <p:nvPr/>
          </p:nvSpPr>
          <p:spPr bwMode="auto">
            <a:xfrm>
              <a:off x="4305300" y="5888038"/>
              <a:ext cx="447675" cy="482600"/>
            </a:xfrm>
            <a:custGeom>
              <a:avLst/>
              <a:gdLst>
                <a:gd name="T0" fmla="*/ 0 w 598"/>
                <a:gd name="T1" fmla="*/ 100 h 641"/>
                <a:gd name="T2" fmla="*/ 29 w 598"/>
                <a:gd name="T3" fmla="*/ 159 h 641"/>
                <a:gd name="T4" fmla="*/ 50 w 598"/>
                <a:gd name="T5" fmla="*/ 246 h 641"/>
                <a:gd name="T6" fmla="*/ 98 w 598"/>
                <a:gd name="T7" fmla="*/ 315 h 641"/>
                <a:gd name="T8" fmla="*/ 168 w 598"/>
                <a:gd name="T9" fmla="*/ 365 h 641"/>
                <a:gd name="T10" fmla="*/ 208 w 598"/>
                <a:gd name="T11" fmla="*/ 482 h 641"/>
                <a:gd name="T12" fmla="*/ 321 w 598"/>
                <a:gd name="T13" fmla="*/ 641 h 641"/>
                <a:gd name="T14" fmla="*/ 359 w 598"/>
                <a:gd name="T15" fmla="*/ 641 h 641"/>
                <a:gd name="T16" fmla="*/ 422 w 598"/>
                <a:gd name="T17" fmla="*/ 440 h 641"/>
                <a:gd name="T18" fmla="*/ 401 w 598"/>
                <a:gd name="T19" fmla="*/ 384 h 641"/>
                <a:gd name="T20" fmla="*/ 207 w 598"/>
                <a:gd name="T21" fmla="*/ 329 h 641"/>
                <a:gd name="T22" fmla="*/ 165 w 598"/>
                <a:gd name="T23" fmla="*/ 274 h 641"/>
                <a:gd name="T24" fmla="*/ 291 w 598"/>
                <a:gd name="T25" fmla="*/ 255 h 641"/>
                <a:gd name="T26" fmla="*/ 316 w 598"/>
                <a:gd name="T27" fmla="*/ 198 h 641"/>
                <a:gd name="T28" fmla="*/ 392 w 598"/>
                <a:gd name="T29" fmla="*/ 144 h 641"/>
                <a:gd name="T30" fmla="*/ 374 w 598"/>
                <a:gd name="T31" fmla="*/ 72 h 641"/>
                <a:gd name="T32" fmla="*/ 350 w 598"/>
                <a:gd name="T33" fmla="*/ 48 h 641"/>
                <a:gd name="T34" fmla="*/ 420 w 598"/>
                <a:gd name="T35" fmla="*/ 23 h 641"/>
                <a:gd name="T36" fmla="*/ 433 w 598"/>
                <a:gd name="T37" fmla="*/ 88 h 641"/>
                <a:gd name="T38" fmla="*/ 465 w 598"/>
                <a:gd name="T39" fmla="*/ 88 h 641"/>
                <a:gd name="T40" fmla="*/ 598 w 598"/>
                <a:gd name="T41" fmla="*/ 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8" h="641">
                  <a:moveTo>
                    <a:pt x="0" y="100"/>
                  </a:moveTo>
                  <a:lnTo>
                    <a:pt x="29" y="159"/>
                  </a:lnTo>
                  <a:lnTo>
                    <a:pt x="50" y="246"/>
                  </a:lnTo>
                  <a:lnTo>
                    <a:pt x="98" y="315"/>
                  </a:lnTo>
                  <a:lnTo>
                    <a:pt x="168" y="365"/>
                  </a:lnTo>
                  <a:lnTo>
                    <a:pt x="208" y="482"/>
                  </a:lnTo>
                  <a:lnTo>
                    <a:pt x="321" y="641"/>
                  </a:lnTo>
                  <a:lnTo>
                    <a:pt x="359" y="641"/>
                  </a:lnTo>
                  <a:lnTo>
                    <a:pt x="422" y="440"/>
                  </a:lnTo>
                  <a:lnTo>
                    <a:pt x="401" y="384"/>
                  </a:lnTo>
                  <a:lnTo>
                    <a:pt x="207" y="329"/>
                  </a:lnTo>
                  <a:lnTo>
                    <a:pt x="165" y="274"/>
                  </a:lnTo>
                  <a:lnTo>
                    <a:pt x="291" y="255"/>
                  </a:lnTo>
                  <a:lnTo>
                    <a:pt x="316" y="198"/>
                  </a:lnTo>
                  <a:lnTo>
                    <a:pt x="392" y="144"/>
                  </a:lnTo>
                  <a:lnTo>
                    <a:pt x="374" y="72"/>
                  </a:lnTo>
                  <a:lnTo>
                    <a:pt x="350" y="48"/>
                  </a:lnTo>
                  <a:lnTo>
                    <a:pt x="420" y="23"/>
                  </a:lnTo>
                  <a:lnTo>
                    <a:pt x="433" y="88"/>
                  </a:lnTo>
                  <a:lnTo>
                    <a:pt x="465" y="88"/>
                  </a:lnTo>
                  <a:lnTo>
                    <a:pt x="598" y="0"/>
                  </a:ln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13" name="ZoneTexte 412">
            <a:extLst>
              <a:ext uri="{FF2B5EF4-FFF2-40B4-BE49-F238E27FC236}">
                <a16:creationId xmlns:a16="http://schemas.microsoft.com/office/drawing/2014/main" id="{281D0572-6F35-46B1-9FB1-5B52F4E93566}"/>
              </a:ext>
            </a:extLst>
          </p:cNvPr>
          <p:cNvSpPr txBox="1"/>
          <p:nvPr/>
        </p:nvSpPr>
        <p:spPr>
          <a:xfrm>
            <a:off x="7768769" y="3514259"/>
            <a:ext cx="1051937" cy="276999"/>
          </a:xfrm>
          <a:prstGeom prst="rect">
            <a:avLst/>
          </a:prstGeom>
          <a:noFill/>
        </p:spPr>
        <p:txBody>
          <a:bodyPr wrap="square" rtlCol="0">
            <a:spAutoFit/>
          </a:bodyPr>
          <a:lstStyle/>
          <a:p>
            <a:r>
              <a:rPr lang="fr-FR" sz="1200" b="1" dirty="0" err="1">
                <a:solidFill>
                  <a:srgbClr val="C2D8D0"/>
                </a:solidFill>
              </a:rPr>
              <a:t>Customers</a:t>
            </a:r>
            <a:endParaRPr lang="fr-FR" sz="1200" b="1" dirty="0">
              <a:solidFill>
                <a:srgbClr val="C2D8D0"/>
              </a:solidFill>
            </a:endParaRPr>
          </a:p>
        </p:txBody>
      </p:sp>
      <p:sp>
        <p:nvSpPr>
          <p:cNvPr id="414" name="ZoneTexte 413">
            <a:extLst>
              <a:ext uri="{FF2B5EF4-FFF2-40B4-BE49-F238E27FC236}">
                <a16:creationId xmlns:a16="http://schemas.microsoft.com/office/drawing/2014/main" id="{2C01163D-28F2-46C9-8142-45BF4C8D9B2E}"/>
              </a:ext>
            </a:extLst>
          </p:cNvPr>
          <p:cNvSpPr txBox="1"/>
          <p:nvPr/>
        </p:nvSpPr>
        <p:spPr>
          <a:xfrm>
            <a:off x="5936863" y="2108076"/>
            <a:ext cx="1944038" cy="246221"/>
          </a:xfrm>
          <a:prstGeom prst="rect">
            <a:avLst/>
          </a:prstGeom>
          <a:solidFill>
            <a:srgbClr val="1BAE8F"/>
          </a:solidFill>
        </p:spPr>
        <p:txBody>
          <a:bodyPr wrap="square" lIns="88900" tIns="38100" rIns="88900" bIns="38100" rtlCol="0">
            <a:spAutoFit/>
          </a:bodyPr>
          <a:lstStyle/>
          <a:p>
            <a:pPr algn="ctr"/>
            <a:r>
              <a:rPr lang="fr-FR" sz="1100" b="1" dirty="0">
                <a:solidFill>
                  <a:schemeClr val="bg1"/>
                </a:solidFill>
              </a:rPr>
              <a:t>Ventes de demi-produits</a:t>
            </a:r>
          </a:p>
        </p:txBody>
      </p:sp>
      <p:sp>
        <p:nvSpPr>
          <p:cNvPr id="415" name="ZoneTexte 414">
            <a:extLst>
              <a:ext uri="{FF2B5EF4-FFF2-40B4-BE49-F238E27FC236}">
                <a16:creationId xmlns:a16="http://schemas.microsoft.com/office/drawing/2014/main" id="{127CE5CA-A1B7-400F-AB0B-63EE35CA9123}"/>
              </a:ext>
            </a:extLst>
          </p:cNvPr>
          <p:cNvSpPr txBox="1"/>
          <p:nvPr/>
        </p:nvSpPr>
        <p:spPr>
          <a:xfrm>
            <a:off x="6155347" y="4918594"/>
            <a:ext cx="1507071" cy="261610"/>
          </a:xfrm>
          <a:prstGeom prst="rect">
            <a:avLst/>
          </a:prstGeom>
          <a:solidFill>
            <a:srgbClr val="92D050"/>
          </a:solidFill>
        </p:spPr>
        <p:txBody>
          <a:bodyPr wrap="square" rtlCol="0">
            <a:spAutoFit/>
          </a:bodyPr>
          <a:lstStyle/>
          <a:p>
            <a:pPr algn="ctr"/>
            <a:r>
              <a:rPr lang="fr-FR" sz="1100" b="1" dirty="0">
                <a:solidFill>
                  <a:schemeClr val="bg1"/>
                </a:solidFill>
              </a:rPr>
              <a:t>Achats des chutes</a:t>
            </a:r>
          </a:p>
        </p:txBody>
      </p:sp>
      <p:sp>
        <p:nvSpPr>
          <p:cNvPr id="416" name="ZoneTexte 415">
            <a:extLst>
              <a:ext uri="{FF2B5EF4-FFF2-40B4-BE49-F238E27FC236}">
                <a16:creationId xmlns:a16="http://schemas.microsoft.com/office/drawing/2014/main" id="{3C38B17D-0DEA-4A61-90D2-9E6092CC451F}"/>
              </a:ext>
            </a:extLst>
          </p:cNvPr>
          <p:cNvSpPr txBox="1"/>
          <p:nvPr/>
        </p:nvSpPr>
        <p:spPr>
          <a:xfrm>
            <a:off x="6443888" y="2469891"/>
            <a:ext cx="384437" cy="707886"/>
          </a:xfrm>
          <a:prstGeom prst="rect">
            <a:avLst/>
          </a:prstGeom>
          <a:noFill/>
        </p:spPr>
        <p:txBody>
          <a:bodyPr wrap="square" rtlCol="0">
            <a:spAutoFit/>
          </a:bodyPr>
          <a:lstStyle/>
          <a:p>
            <a:r>
              <a:rPr lang="fr-FR" sz="4000" b="1" dirty="0">
                <a:solidFill>
                  <a:srgbClr val="1B9D91"/>
                </a:solidFill>
              </a:rPr>
              <a:t>&lt;</a:t>
            </a:r>
          </a:p>
        </p:txBody>
      </p:sp>
      <p:sp>
        <p:nvSpPr>
          <p:cNvPr id="420" name="Rectangle 419">
            <a:extLst>
              <a:ext uri="{FF2B5EF4-FFF2-40B4-BE49-F238E27FC236}">
                <a16:creationId xmlns:a16="http://schemas.microsoft.com/office/drawing/2014/main" id="{4859AD07-34B2-46A7-8BF1-3571EA1E191E}"/>
              </a:ext>
            </a:extLst>
          </p:cNvPr>
          <p:cNvSpPr/>
          <p:nvPr/>
        </p:nvSpPr>
        <p:spPr>
          <a:xfrm>
            <a:off x="679249" y="1138765"/>
            <a:ext cx="3675862" cy="6217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dirty="0"/>
          </a:p>
        </p:txBody>
      </p:sp>
      <p:sp>
        <p:nvSpPr>
          <p:cNvPr id="422" name="ZoneTexte 421">
            <a:extLst>
              <a:ext uri="{FF2B5EF4-FFF2-40B4-BE49-F238E27FC236}">
                <a16:creationId xmlns:a16="http://schemas.microsoft.com/office/drawing/2014/main" id="{38C906C1-CD73-4CDF-89DA-ED78C94D126A}"/>
              </a:ext>
            </a:extLst>
          </p:cNvPr>
          <p:cNvSpPr txBox="1"/>
          <p:nvPr/>
        </p:nvSpPr>
        <p:spPr>
          <a:xfrm>
            <a:off x="5121478" y="1181775"/>
            <a:ext cx="3574808" cy="523220"/>
          </a:xfrm>
          <a:prstGeom prst="rect">
            <a:avLst/>
          </a:prstGeom>
          <a:noFill/>
        </p:spPr>
        <p:txBody>
          <a:bodyPr wrap="square" rtlCol="0">
            <a:spAutoFit/>
          </a:bodyPr>
          <a:lstStyle/>
          <a:p>
            <a:pPr algn="ctr"/>
            <a:r>
              <a:rPr lang="fr-FR" sz="1400" b="1" dirty="0">
                <a:solidFill>
                  <a:schemeClr val="tx2"/>
                </a:solidFill>
              </a:rPr>
              <a:t>Demi-produit inférieur </a:t>
            </a:r>
            <a:r>
              <a:rPr lang="fr-FR" sz="1400" dirty="0">
                <a:solidFill>
                  <a:schemeClr val="tx2"/>
                </a:solidFill>
              </a:rPr>
              <a:t>au prix marché avec </a:t>
            </a:r>
            <a:r>
              <a:rPr lang="fr-FR" sz="1400" b="1" dirty="0">
                <a:solidFill>
                  <a:schemeClr val="tx2"/>
                </a:solidFill>
              </a:rPr>
              <a:t>une reprise des chutes décotée</a:t>
            </a:r>
          </a:p>
        </p:txBody>
      </p:sp>
      <p:grpSp>
        <p:nvGrpSpPr>
          <p:cNvPr id="428" name="Group 10">
            <a:extLst>
              <a:ext uri="{FF2B5EF4-FFF2-40B4-BE49-F238E27FC236}">
                <a16:creationId xmlns:a16="http://schemas.microsoft.com/office/drawing/2014/main" id="{B47498F1-B6EE-4054-BEF0-41B280DE7AE5}"/>
              </a:ext>
            </a:extLst>
          </p:cNvPr>
          <p:cNvGrpSpPr>
            <a:grpSpLocks noChangeAspect="1"/>
          </p:cNvGrpSpPr>
          <p:nvPr/>
        </p:nvGrpSpPr>
        <p:grpSpPr>
          <a:xfrm rot="16200000">
            <a:off x="330988" y="1149754"/>
            <a:ext cx="360000" cy="360000"/>
            <a:chOff x="477582" y="2362623"/>
            <a:chExt cx="590158" cy="590158"/>
          </a:xfrm>
        </p:grpSpPr>
        <p:sp>
          <p:nvSpPr>
            <p:cNvPr id="429" name="Oval 14">
              <a:extLst>
                <a:ext uri="{FF2B5EF4-FFF2-40B4-BE49-F238E27FC236}">
                  <a16:creationId xmlns:a16="http://schemas.microsoft.com/office/drawing/2014/main" id="{6BD5D8FF-1EF4-4785-9C93-D8DEB00CCB2A}"/>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430" name="ChevronBlue 33">
              <a:extLst>
                <a:ext uri="{FF2B5EF4-FFF2-40B4-BE49-F238E27FC236}">
                  <a16:creationId xmlns:a16="http://schemas.microsoft.com/office/drawing/2014/main" id="{AD3891CB-3854-45D9-84BA-2FCF71136019}"/>
                </a:ext>
              </a:extLst>
            </p:cNvPr>
            <p:cNvGrpSpPr>
              <a:grpSpLocks noChangeAspect="1"/>
            </p:cNvGrpSpPr>
            <p:nvPr>
              <p:custDataLst>
                <p:tags r:id="rId8"/>
              </p:custDataLst>
            </p:nvPr>
          </p:nvGrpSpPr>
          <p:grpSpPr>
            <a:xfrm rot="5400000">
              <a:off x="554736" y="2439776"/>
              <a:ext cx="435851" cy="435851"/>
              <a:chOff x="1016000" y="1016000"/>
              <a:chExt cx="396228" cy="396228"/>
            </a:xfrm>
          </p:grpSpPr>
          <p:sp>
            <p:nvSpPr>
              <p:cNvPr id="431" name="Oval 16">
                <a:extLst>
                  <a:ext uri="{FF2B5EF4-FFF2-40B4-BE49-F238E27FC236}">
                    <a16:creationId xmlns:a16="http://schemas.microsoft.com/office/drawing/2014/main" id="{E37D401F-8534-4BE1-BFD8-F8139F1E0D83}"/>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32" name="Freeform: Shape 17">
                <a:extLst>
                  <a:ext uri="{FF2B5EF4-FFF2-40B4-BE49-F238E27FC236}">
                    <a16:creationId xmlns:a16="http://schemas.microsoft.com/office/drawing/2014/main" id="{CC8A0470-F5E7-46B1-9B96-B6D95F684872}"/>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433" name="Group 10">
            <a:extLst>
              <a:ext uri="{FF2B5EF4-FFF2-40B4-BE49-F238E27FC236}">
                <a16:creationId xmlns:a16="http://schemas.microsoft.com/office/drawing/2014/main" id="{9B3356F7-6783-4425-9C69-4FF392319C0B}"/>
              </a:ext>
            </a:extLst>
          </p:cNvPr>
          <p:cNvGrpSpPr>
            <a:grpSpLocks noChangeAspect="1"/>
          </p:cNvGrpSpPr>
          <p:nvPr/>
        </p:nvGrpSpPr>
        <p:grpSpPr>
          <a:xfrm rot="16200000">
            <a:off x="4978811" y="1158220"/>
            <a:ext cx="360000" cy="360000"/>
            <a:chOff x="477582" y="2362623"/>
            <a:chExt cx="590158" cy="590158"/>
          </a:xfrm>
        </p:grpSpPr>
        <p:sp>
          <p:nvSpPr>
            <p:cNvPr id="434" name="Oval 14">
              <a:extLst>
                <a:ext uri="{FF2B5EF4-FFF2-40B4-BE49-F238E27FC236}">
                  <a16:creationId xmlns:a16="http://schemas.microsoft.com/office/drawing/2014/main" id="{BD435A16-3155-4D6F-95DF-3A11AF8743A4}"/>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435" name="ChevronBlue 33">
              <a:extLst>
                <a:ext uri="{FF2B5EF4-FFF2-40B4-BE49-F238E27FC236}">
                  <a16:creationId xmlns:a16="http://schemas.microsoft.com/office/drawing/2014/main" id="{43A6F8A4-05F7-46A0-95D1-FC7452318D37}"/>
                </a:ext>
              </a:extLst>
            </p:cNvPr>
            <p:cNvGrpSpPr>
              <a:grpSpLocks noChangeAspect="1"/>
            </p:cNvGrpSpPr>
            <p:nvPr>
              <p:custDataLst>
                <p:tags r:id="rId7"/>
              </p:custDataLst>
            </p:nvPr>
          </p:nvGrpSpPr>
          <p:grpSpPr>
            <a:xfrm rot="5400000">
              <a:off x="554736" y="2439776"/>
              <a:ext cx="435851" cy="435851"/>
              <a:chOff x="1016000" y="1016000"/>
              <a:chExt cx="396228" cy="396228"/>
            </a:xfrm>
          </p:grpSpPr>
          <p:sp>
            <p:nvSpPr>
              <p:cNvPr id="436" name="Oval 16">
                <a:extLst>
                  <a:ext uri="{FF2B5EF4-FFF2-40B4-BE49-F238E27FC236}">
                    <a16:creationId xmlns:a16="http://schemas.microsoft.com/office/drawing/2014/main" id="{9BB62198-9199-49FC-8A89-6EBC3A9397C7}"/>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37" name="Freeform: Shape 17">
                <a:extLst>
                  <a:ext uri="{FF2B5EF4-FFF2-40B4-BE49-F238E27FC236}">
                    <a16:creationId xmlns:a16="http://schemas.microsoft.com/office/drawing/2014/main" id="{AC5A3E12-AEFC-4B3B-AA12-82FDF4EB4E77}"/>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443" name="Group 416">
            <a:extLst>
              <a:ext uri="{FF2B5EF4-FFF2-40B4-BE49-F238E27FC236}">
                <a16:creationId xmlns:a16="http://schemas.microsoft.com/office/drawing/2014/main" id="{7F540CCB-411C-4487-B1A5-719BC60A7A70}"/>
              </a:ext>
            </a:extLst>
          </p:cNvPr>
          <p:cNvGrpSpPr/>
          <p:nvPr/>
        </p:nvGrpSpPr>
        <p:grpSpPr>
          <a:xfrm>
            <a:off x="367018" y="5530425"/>
            <a:ext cx="287938" cy="353037"/>
            <a:chOff x="8105775" y="792163"/>
            <a:chExt cx="4016375" cy="4924425"/>
          </a:xfrm>
          <a:solidFill>
            <a:srgbClr val="1B9D91"/>
          </a:solidFill>
        </p:grpSpPr>
        <p:sp>
          <p:nvSpPr>
            <p:cNvPr id="444" name="Freeform 189">
              <a:extLst>
                <a:ext uri="{FF2B5EF4-FFF2-40B4-BE49-F238E27FC236}">
                  <a16:creationId xmlns:a16="http://schemas.microsoft.com/office/drawing/2014/main" id="{2465450B-0FF0-4055-A302-606723E8A0CA}"/>
                </a:ext>
              </a:extLst>
            </p:cNvPr>
            <p:cNvSpPr>
              <a:spLocks/>
            </p:cNvSpPr>
            <p:nvPr/>
          </p:nvSpPr>
          <p:spPr bwMode="auto">
            <a:xfrm>
              <a:off x="8105775" y="2678113"/>
              <a:ext cx="1222375" cy="244475"/>
            </a:xfrm>
            <a:custGeom>
              <a:avLst/>
              <a:gdLst>
                <a:gd name="T0" fmla="*/ 153 w 1541"/>
                <a:gd name="T1" fmla="*/ 0 h 307"/>
                <a:gd name="T2" fmla="*/ 1386 w 1541"/>
                <a:gd name="T3" fmla="*/ 0 h 307"/>
                <a:gd name="T4" fmla="*/ 1427 w 1541"/>
                <a:gd name="T5" fmla="*/ 5 h 307"/>
                <a:gd name="T6" fmla="*/ 1463 w 1541"/>
                <a:gd name="T7" fmla="*/ 20 h 307"/>
                <a:gd name="T8" fmla="*/ 1495 w 1541"/>
                <a:gd name="T9" fmla="*/ 45 h 307"/>
                <a:gd name="T10" fmla="*/ 1518 w 1541"/>
                <a:gd name="T11" fmla="*/ 75 h 307"/>
                <a:gd name="T12" fmla="*/ 1535 w 1541"/>
                <a:gd name="T13" fmla="*/ 113 h 307"/>
                <a:gd name="T14" fmla="*/ 1541 w 1541"/>
                <a:gd name="T15" fmla="*/ 152 h 307"/>
                <a:gd name="T16" fmla="*/ 1535 w 1541"/>
                <a:gd name="T17" fmla="*/ 194 h 307"/>
                <a:gd name="T18" fmla="*/ 1518 w 1541"/>
                <a:gd name="T19" fmla="*/ 230 h 307"/>
                <a:gd name="T20" fmla="*/ 1495 w 1541"/>
                <a:gd name="T21" fmla="*/ 262 h 307"/>
                <a:gd name="T22" fmla="*/ 1463 w 1541"/>
                <a:gd name="T23" fmla="*/ 286 h 307"/>
                <a:gd name="T24" fmla="*/ 1427 w 1541"/>
                <a:gd name="T25" fmla="*/ 302 h 307"/>
                <a:gd name="T26" fmla="*/ 1386 w 1541"/>
                <a:gd name="T27" fmla="*/ 307 h 307"/>
                <a:gd name="T28" fmla="*/ 153 w 1541"/>
                <a:gd name="T29" fmla="*/ 307 h 307"/>
                <a:gd name="T30" fmla="*/ 114 w 1541"/>
                <a:gd name="T31" fmla="*/ 302 h 307"/>
                <a:gd name="T32" fmla="*/ 76 w 1541"/>
                <a:gd name="T33" fmla="*/ 286 h 307"/>
                <a:gd name="T34" fmla="*/ 46 w 1541"/>
                <a:gd name="T35" fmla="*/ 262 h 307"/>
                <a:gd name="T36" fmla="*/ 21 w 1541"/>
                <a:gd name="T37" fmla="*/ 230 h 307"/>
                <a:gd name="T38" fmla="*/ 6 w 1541"/>
                <a:gd name="T39" fmla="*/ 194 h 307"/>
                <a:gd name="T40" fmla="*/ 0 w 1541"/>
                <a:gd name="T41" fmla="*/ 152 h 307"/>
                <a:gd name="T42" fmla="*/ 6 w 1541"/>
                <a:gd name="T43" fmla="*/ 113 h 307"/>
                <a:gd name="T44" fmla="*/ 21 w 1541"/>
                <a:gd name="T45" fmla="*/ 75 h 307"/>
                <a:gd name="T46" fmla="*/ 46 w 1541"/>
                <a:gd name="T47" fmla="*/ 45 h 307"/>
                <a:gd name="T48" fmla="*/ 76 w 1541"/>
                <a:gd name="T49" fmla="*/ 20 h 307"/>
                <a:gd name="T50" fmla="*/ 114 w 1541"/>
                <a:gd name="T51" fmla="*/ 5 h 307"/>
                <a:gd name="T52" fmla="*/ 153 w 1541"/>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1" h="307">
                  <a:moveTo>
                    <a:pt x="153" y="0"/>
                  </a:moveTo>
                  <a:lnTo>
                    <a:pt x="1386" y="0"/>
                  </a:lnTo>
                  <a:lnTo>
                    <a:pt x="1427" y="5"/>
                  </a:lnTo>
                  <a:lnTo>
                    <a:pt x="1463" y="20"/>
                  </a:lnTo>
                  <a:lnTo>
                    <a:pt x="1495" y="45"/>
                  </a:lnTo>
                  <a:lnTo>
                    <a:pt x="1518" y="75"/>
                  </a:lnTo>
                  <a:lnTo>
                    <a:pt x="1535" y="113"/>
                  </a:lnTo>
                  <a:lnTo>
                    <a:pt x="1541" y="152"/>
                  </a:lnTo>
                  <a:lnTo>
                    <a:pt x="1535" y="194"/>
                  </a:lnTo>
                  <a:lnTo>
                    <a:pt x="1518" y="230"/>
                  </a:lnTo>
                  <a:lnTo>
                    <a:pt x="1495" y="262"/>
                  </a:lnTo>
                  <a:lnTo>
                    <a:pt x="1463" y="286"/>
                  </a:lnTo>
                  <a:lnTo>
                    <a:pt x="1427" y="302"/>
                  </a:lnTo>
                  <a:lnTo>
                    <a:pt x="1386" y="307"/>
                  </a:lnTo>
                  <a:lnTo>
                    <a:pt x="153" y="307"/>
                  </a:lnTo>
                  <a:lnTo>
                    <a:pt x="114" y="302"/>
                  </a:lnTo>
                  <a:lnTo>
                    <a:pt x="76" y="286"/>
                  </a:lnTo>
                  <a:lnTo>
                    <a:pt x="46" y="262"/>
                  </a:lnTo>
                  <a:lnTo>
                    <a:pt x="21" y="230"/>
                  </a:lnTo>
                  <a:lnTo>
                    <a:pt x="6" y="194"/>
                  </a:lnTo>
                  <a:lnTo>
                    <a:pt x="0" y="152"/>
                  </a:lnTo>
                  <a:lnTo>
                    <a:pt x="6" y="113"/>
                  </a:lnTo>
                  <a:lnTo>
                    <a:pt x="21" y="75"/>
                  </a:lnTo>
                  <a:lnTo>
                    <a:pt x="46" y="45"/>
                  </a:lnTo>
                  <a:lnTo>
                    <a:pt x="76" y="20"/>
                  </a:lnTo>
                  <a:lnTo>
                    <a:pt x="114"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5" name="Freeform 190">
              <a:extLst>
                <a:ext uri="{FF2B5EF4-FFF2-40B4-BE49-F238E27FC236}">
                  <a16:creationId xmlns:a16="http://schemas.microsoft.com/office/drawing/2014/main" id="{1831DB5B-27ED-479A-B78A-3E24BF1831BA}"/>
                </a:ext>
              </a:extLst>
            </p:cNvPr>
            <p:cNvSpPr>
              <a:spLocks/>
            </p:cNvSpPr>
            <p:nvPr/>
          </p:nvSpPr>
          <p:spPr bwMode="auto">
            <a:xfrm>
              <a:off x="10899775" y="2678113"/>
              <a:ext cx="1222375" cy="244475"/>
            </a:xfrm>
            <a:custGeom>
              <a:avLst/>
              <a:gdLst>
                <a:gd name="T0" fmla="*/ 153 w 1540"/>
                <a:gd name="T1" fmla="*/ 0 h 307"/>
                <a:gd name="T2" fmla="*/ 1385 w 1540"/>
                <a:gd name="T3" fmla="*/ 0 h 307"/>
                <a:gd name="T4" fmla="*/ 1427 w 1540"/>
                <a:gd name="T5" fmla="*/ 5 h 307"/>
                <a:gd name="T6" fmla="*/ 1463 w 1540"/>
                <a:gd name="T7" fmla="*/ 20 h 307"/>
                <a:gd name="T8" fmla="*/ 1495 w 1540"/>
                <a:gd name="T9" fmla="*/ 45 h 307"/>
                <a:gd name="T10" fmla="*/ 1519 w 1540"/>
                <a:gd name="T11" fmla="*/ 75 h 307"/>
                <a:gd name="T12" fmla="*/ 1535 w 1540"/>
                <a:gd name="T13" fmla="*/ 113 h 307"/>
                <a:gd name="T14" fmla="*/ 1540 w 1540"/>
                <a:gd name="T15" fmla="*/ 152 h 307"/>
                <a:gd name="T16" fmla="*/ 1535 w 1540"/>
                <a:gd name="T17" fmla="*/ 194 h 307"/>
                <a:gd name="T18" fmla="*/ 1518 w 1540"/>
                <a:gd name="T19" fmla="*/ 230 h 307"/>
                <a:gd name="T20" fmla="*/ 1495 w 1540"/>
                <a:gd name="T21" fmla="*/ 262 h 307"/>
                <a:gd name="T22" fmla="*/ 1463 w 1540"/>
                <a:gd name="T23" fmla="*/ 286 h 307"/>
                <a:gd name="T24" fmla="*/ 1427 w 1540"/>
                <a:gd name="T25" fmla="*/ 302 h 307"/>
                <a:gd name="T26" fmla="*/ 1385 w 1540"/>
                <a:gd name="T27" fmla="*/ 307 h 307"/>
                <a:gd name="T28" fmla="*/ 153 w 1540"/>
                <a:gd name="T29" fmla="*/ 307 h 307"/>
                <a:gd name="T30" fmla="*/ 113 w 1540"/>
                <a:gd name="T31" fmla="*/ 302 h 307"/>
                <a:gd name="T32" fmla="*/ 75 w 1540"/>
                <a:gd name="T33" fmla="*/ 286 h 307"/>
                <a:gd name="T34" fmla="*/ 45 w 1540"/>
                <a:gd name="T35" fmla="*/ 262 h 307"/>
                <a:gd name="T36" fmla="*/ 21 w 1540"/>
                <a:gd name="T37" fmla="*/ 230 h 307"/>
                <a:gd name="T38" fmla="*/ 6 w 1540"/>
                <a:gd name="T39" fmla="*/ 194 h 307"/>
                <a:gd name="T40" fmla="*/ 0 w 1540"/>
                <a:gd name="T41" fmla="*/ 152 h 307"/>
                <a:gd name="T42" fmla="*/ 6 w 1540"/>
                <a:gd name="T43" fmla="*/ 113 h 307"/>
                <a:gd name="T44" fmla="*/ 21 w 1540"/>
                <a:gd name="T45" fmla="*/ 75 h 307"/>
                <a:gd name="T46" fmla="*/ 45 w 1540"/>
                <a:gd name="T47" fmla="*/ 45 h 307"/>
                <a:gd name="T48" fmla="*/ 75 w 1540"/>
                <a:gd name="T49" fmla="*/ 20 h 307"/>
                <a:gd name="T50" fmla="*/ 113 w 1540"/>
                <a:gd name="T51" fmla="*/ 5 h 307"/>
                <a:gd name="T52" fmla="*/ 153 w 1540"/>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0" h="307">
                  <a:moveTo>
                    <a:pt x="153" y="0"/>
                  </a:moveTo>
                  <a:lnTo>
                    <a:pt x="1385" y="0"/>
                  </a:lnTo>
                  <a:lnTo>
                    <a:pt x="1427" y="5"/>
                  </a:lnTo>
                  <a:lnTo>
                    <a:pt x="1463" y="20"/>
                  </a:lnTo>
                  <a:lnTo>
                    <a:pt x="1495" y="45"/>
                  </a:lnTo>
                  <a:lnTo>
                    <a:pt x="1519" y="75"/>
                  </a:lnTo>
                  <a:lnTo>
                    <a:pt x="1535" y="113"/>
                  </a:lnTo>
                  <a:lnTo>
                    <a:pt x="1540" y="152"/>
                  </a:lnTo>
                  <a:lnTo>
                    <a:pt x="1535" y="194"/>
                  </a:lnTo>
                  <a:lnTo>
                    <a:pt x="1518" y="230"/>
                  </a:lnTo>
                  <a:lnTo>
                    <a:pt x="1495" y="262"/>
                  </a:lnTo>
                  <a:lnTo>
                    <a:pt x="1463" y="286"/>
                  </a:lnTo>
                  <a:lnTo>
                    <a:pt x="1427" y="302"/>
                  </a:lnTo>
                  <a:lnTo>
                    <a:pt x="1385" y="307"/>
                  </a:lnTo>
                  <a:lnTo>
                    <a:pt x="153" y="307"/>
                  </a:lnTo>
                  <a:lnTo>
                    <a:pt x="113" y="302"/>
                  </a:lnTo>
                  <a:lnTo>
                    <a:pt x="75" y="286"/>
                  </a:lnTo>
                  <a:lnTo>
                    <a:pt x="45" y="262"/>
                  </a:lnTo>
                  <a:lnTo>
                    <a:pt x="21" y="230"/>
                  </a:lnTo>
                  <a:lnTo>
                    <a:pt x="6" y="194"/>
                  </a:lnTo>
                  <a:lnTo>
                    <a:pt x="0" y="152"/>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6" name="Freeform 191">
              <a:extLst>
                <a:ext uri="{FF2B5EF4-FFF2-40B4-BE49-F238E27FC236}">
                  <a16:creationId xmlns:a16="http://schemas.microsoft.com/office/drawing/2014/main" id="{80216A20-F196-4FCA-9FF1-63CA29121B59}"/>
                </a:ext>
              </a:extLst>
            </p:cNvPr>
            <p:cNvSpPr>
              <a:spLocks/>
            </p:cNvSpPr>
            <p:nvPr/>
          </p:nvSpPr>
          <p:spPr bwMode="auto">
            <a:xfrm>
              <a:off x="9991725" y="792163"/>
              <a:ext cx="244475" cy="1222375"/>
            </a:xfrm>
            <a:custGeom>
              <a:avLst/>
              <a:gdLst>
                <a:gd name="T0" fmla="*/ 153 w 308"/>
                <a:gd name="T1" fmla="*/ 0 h 1540"/>
                <a:gd name="T2" fmla="*/ 194 w 308"/>
                <a:gd name="T3" fmla="*/ 5 h 1540"/>
                <a:gd name="T4" fmla="*/ 230 w 308"/>
                <a:gd name="T5" fmla="*/ 20 h 1540"/>
                <a:gd name="T6" fmla="*/ 262 w 308"/>
                <a:gd name="T7" fmla="*/ 45 h 1540"/>
                <a:gd name="T8" fmla="*/ 285 w 308"/>
                <a:gd name="T9" fmla="*/ 75 h 1540"/>
                <a:gd name="T10" fmla="*/ 302 w 308"/>
                <a:gd name="T11" fmla="*/ 113 h 1540"/>
                <a:gd name="T12" fmla="*/ 308 w 308"/>
                <a:gd name="T13" fmla="*/ 154 h 1540"/>
                <a:gd name="T14" fmla="*/ 308 w 308"/>
                <a:gd name="T15" fmla="*/ 1385 h 1540"/>
                <a:gd name="T16" fmla="*/ 302 w 308"/>
                <a:gd name="T17" fmla="*/ 1426 h 1540"/>
                <a:gd name="T18" fmla="*/ 285 w 308"/>
                <a:gd name="T19" fmla="*/ 1462 h 1540"/>
                <a:gd name="T20" fmla="*/ 262 w 308"/>
                <a:gd name="T21" fmla="*/ 1494 h 1540"/>
                <a:gd name="T22" fmla="*/ 230 w 308"/>
                <a:gd name="T23" fmla="*/ 1519 h 1540"/>
                <a:gd name="T24" fmla="*/ 194 w 308"/>
                <a:gd name="T25" fmla="*/ 1534 h 1540"/>
                <a:gd name="T26" fmla="*/ 153 w 308"/>
                <a:gd name="T27" fmla="*/ 1540 h 1540"/>
                <a:gd name="T28" fmla="*/ 113 w 308"/>
                <a:gd name="T29" fmla="*/ 1534 h 1540"/>
                <a:gd name="T30" fmla="*/ 75 w 308"/>
                <a:gd name="T31" fmla="*/ 1519 h 1540"/>
                <a:gd name="T32" fmla="*/ 45 w 308"/>
                <a:gd name="T33" fmla="*/ 1494 h 1540"/>
                <a:gd name="T34" fmla="*/ 21 w 308"/>
                <a:gd name="T35" fmla="*/ 1462 h 1540"/>
                <a:gd name="T36" fmla="*/ 6 w 308"/>
                <a:gd name="T37" fmla="*/ 1426 h 1540"/>
                <a:gd name="T38" fmla="*/ 0 w 308"/>
                <a:gd name="T39" fmla="*/ 1385 h 1540"/>
                <a:gd name="T40" fmla="*/ 0 w 308"/>
                <a:gd name="T41" fmla="*/ 154 h 1540"/>
                <a:gd name="T42" fmla="*/ 6 w 308"/>
                <a:gd name="T43" fmla="*/ 113 h 1540"/>
                <a:gd name="T44" fmla="*/ 21 w 308"/>
                <a:gd name="T45" fmla="*/ 75 h 1540"/>
                <a:gd name="T46" fmla="*/ 45 w 308"/>
                <a:gd name="T47" fmla="*/ 45 h 1540"/>
                <a:gd name="T48" fmla="*/ 75 w 308"/>
                <a:gd name="T49" fmla="*/ 20 h 1540"/>
                <a:gd name="T50" fmla="*/ 113 w 308"/>
                <a:gd name="T51" fmla="*/ 5 h 1540"/>
                <a:gd name="T52" fmla="*/ 153 w 308"/>
                <a:gd name="T53" fmla="*/ 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8" h="1540">
                  <a:moveTo>
                    <a:pt x="153" y="0"/>
                  </a:moveTo>
                  <a:lnTo>
                    <a:pt x="194" y="5"/>
                  </a:lnTo>
                  <a:lnTo>
                    <a:pt x="230" y="20"/>
                  </a:lnTo>
                  <a:lnTo>
                    <a:pt x="262" y="45"/>
                  </a:lnTo>
                  <a:lnTo>
                    <a:pt x="285" y="75"/>
                  </a:lnTo>
                  <a:lnTo>
                    <a:pt x="302" y="113"/>
                  </a:lnTo>
                  <a:lnTo>
                    <a:pt x="308" y="154"/>
                  </a:lnTo>
                  <a:lnTo>
                    <a:pt x="308" y="1385"/>
                  </a:lnTo>
                  <a:lnTo>
                    <a:pt x="302" y="1426"/>
                  </a:lnTo>
                  <a:lnTo>
                    <a:pt x="285" y="1462"/>
                  </a:lnTo>
                  <a:lnTo>
                    <a:pt x="262" y="1494"/>
                  </a:lnTo>
                  <a:lnTo>
                    <a:pt x="230" y="1519"/>
                  </a:lnTo>
                  <a:lnTo>
                    <a:pt x="194" y="1534"/>
                  </a:lnTo>
                  <a:lnTo>
                    <a:pt x="153" y="1540"/>
                  </a:lnTo>
                  <a:lnTo>
                    <a:pt x="113" y="1534"/>
                  </a:lnTo>
                  <a:lnTo>
                    <a:pt x="75" y="1519"/>
                  </a:lnTo>
                  <a:lnTo>
                    <a:pt x="45" y="1494"/>
                  </a:lnTo>
                  <a:lnTo>
                    <a:pt x="21" y="1462"/>
                  </a:lnTo>
                  <a:lnTo>
                    <a:pt x="6" y="1426"/>
                  </a:lnTo>
                  <a:lnTo>
                    <a:pt x="0" y="1385"/>
                  </a:lnTo>
                  <a:lnTo>
                    <a:pt x="0" y="154"/>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7" name="Freeform 192">
              <a:extLst>
                <a:ext uri="{FF2B5EF4-FFF2-40B4-BE49-F238E27FC236}">
                  <a16:creationId xmlns:a16="http://schemas.microsoft.com/office/drawing/2014/main" id="{5A338127-C0B7-4ABD-B483-64C4853C80ED}"/>
                </a:ext>
              </a:extLst>
            </p:cNvPr>
            <p:cNvSpPr>
              <a:spLocks/>
            </p:cNvSpPr>
            <p:nvPr/>
          </p:nvSpPr>
          <p:spPr bwMode="auto">
            <a:xfrm>
              <a:off x="10633075" y="1344613"/>
              <a:ext cx="936625" cy="936625"/>
            </a:xfrm>
            <a:custGeom>
              <a:avLst/>
              <a:gdLst>
                <a:gd name="T0" fmla="*/ 1044 w 1180"/>
                <a:gd name="T1" fmla="*/ 0 h 1179"/>
                <a:gd name="T2" fmla="*/ 1076 w 1180"/>
                <a:gd name="T3" fmla="*/ 8 h 1179"/>
                <a:gd name="T4" fmla="*/ 1108 w 1180"/>
                <a:gd name="T5" fmla="*/ 23 h 1179"/>
                <a:gd name="T6" fmla="*/ 1134 w 1180"/>
                <a:gd name="T7" fmla="*/ 43 h 1179"/>
                <a:gd name="T8" fmla="*/ 1157 w 1180"/>
                <a:gd name="T9" fmla="*/ 72 h 1179"/>
                <a:gd name="T10" fmla="*/ 1172 w 1180"/>
                <a:gd name="T11" fmla="*/ 104 h 1179"/>
                <a:gd name="T12" fmla="*/ 1180 w 1180"/>
                <a:gd name="T13" fmla="*/ 136 h 1179"/>
                <a:gd name="T14" fmla="*/ 1180 w 1180"/>
                <a:gd name="T15" fmla="*/ 170 h 1179"/>
                <a:gd name="T16" fmla="*/ 1172 w 1180"/>
                <a:gd name="T17" fmla="*/ 202 h 1179"/>
                <a:gd name="T18" fmla="*/ 1157 w 1180"/>
                <a:gd name="T19" fmla="*/ 234 h 1179"/>
                <a:gd name="T20" fmla="*/ 1134 w 1180"/>
                <a:gd name="T21" fmla="*/ 262 h 1179"/>
                <a:gd name="T22" fmla="*/ 262 w 1180"/>
                <a:gd name="T23" fmla="*/ 1134 h 1179"/>
                <a:gd name="T24" fmla="*/ 230 w 1180"/>
                <a:gd name="T25" fmla="*/ 1159 h 1179"/>
                <a:gd name="T26" fmla="*/ 192 w 1180"/>
                <a:gd name="T27" fmla="*/ 1174 h 1179"/>
                <a:gd name="T28" fmla="*/ 153 w 1180"/>
                <a:gd name="T29" fmla="*/ 1179 h 1179"/>
                <a:gd name="T30" fmla="*/ 124 w 1180"/>
                <a:gd name="T31" fmla="*/ 1176 h 1179"/>
                <a:gd name="T32" fmla="*/ 96 w 1180"/>
                <a:gd name="T33" fmla="*/ 1168 h 1179"/>
                <a:gd name="T34" fmla="*/ 70 w 1180"/>
                <a:gd name="T35" fmla="*/ 1153 h 1179"/>
                <a:gd name="T36" fmla="*/ 45 w 1180"/>
                <a:gd name="T37" fmla="*/ 1134 h 1179"/>
                <a:gd name="T38" fmla="*/ 23 w 1180"/>
                <a:gd name="T39" fmla="*/ 1106 h 1179"/>
                <a:gd name="T40" fmla="*/ 7 w 1180"/>
                <a:gd name="T41" fmla="*/ 1076 h 1179"/>
                <a:gd name="T42" fmla="*/ 0 w 1180"/>
                <a:gd name="T43" fmla="*/ 1042 h 1179"/>
                <a:gd name="T44" fmla="*/ 0 w 1180"/>
                <a:gd name="T45" fmla="*/ 1008 h 1179"/>
                <a:gd name="T46" fmla="*/ 7 w 1180"/>
                <a:gd name="T47" fmla="*/ 976 h 1179"/>
                <a:gd name="T48" fmla="*/ 23 w 1180"/>
                <a:gd name="T49" fmla="*/ 944 h 1179"/>
                <a:gd name="T50" fmla="*/ 45 w 1180"/>
                <a:gd name="T51" fmla="*/ 917 h 1179"/>
                <a:gd name="T52" fmla="*/ 917 w 1180"/>
                <a:gd name="T53" fmla="*/ 43 h 1179"/>
                <a:gd name="T54" fmla="*/ 946 w 1180"/>
                <a:gd name="T55" fmla="*/ 23 h 1179"/>
                <a:gd name="T56" fmla="*/ 976 w 1180"/>
                <a:gd name="T57" fmla="*/ 8 h 1179"/>
                <a:gd name="T58" fmla="*/ 1010 w 1180"/>
                <a:gd name="T59" fmla="*/ 0 h 1179"/>
                <a:gd name="T60" fmla="*/ 1044 w 1180"/>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0" h="1179">
                  <a:moveTo>
                    <a:pt x="1044" y="0"/>
                  </a:moveTo>
                  <a:lnTo>
                    <a:pt x="1076" y="8"/>
                  </a:lnTo>
                  <a:lnTo>
                    <a:pt x="1108" y="23"/>
                  </a:lnTo>
                  <a:lnTo>
                    <a:pt x="1134" y="43"/>
                  </a:lnTo>
                  <a:lnTo>
                    <a:pt x="1157" y="72"/>
                  </a:lnTo>
                  <a:lnTo>
                    <a:pt x="1172" y="104"/>
                  </a:lnTo>
                  <a:lnTo>
                    <a:pt x="1180" y="136"/>
                  </a:lnTo>
                  <a:lnTo>
                    <a:pt x="1180" y="170"/>
                  </a:lnTo>
                  <a:lnTo>
                    <a:pt x="1172" y="202"/>
                  </a:lnTo>
                  <a:lnTo>
                    <a:pt x="1157" y="234"/>
                  </a:lnTo>
                  <a:lnTo>
                    <a:pt x="1134" y="262"/>
                  </a:lnTo>
                  <a:lnTo>
                    <a:pt x="262" y="1134"/>
                  </a:lnTo>
                  <a:lnTo>
                    <a:pt x="230" y="1159"/>
                  </a:lnTo>
                  <a:lnTo>
                    <a:pt x="192" y="1174"/>
                  </a:lnTo>
                  <a:lnTo>
                    <a:pt x="153" y="1179"/>
                  </a:lnTo>
                  <a:lnTo>
                    <a:pt x="124" y="1176"/>
                  </a:lnTo>
                  <a:lnTo>
                    <a:pt x="96" y="1168"/>
                  </a:lnTo>
                  <a:lnTo>
                    <a:pt x="70" y="1153"/>
                  </a:lnTo>
                  <a:lnTo>
                    <a:pt x="45" y="1134"/>
                  </a:lnTo>
                  <a:lnTo>
                    <a:pt x="23" y="1106"/>
                  </a:lnTo>
                  <a:lnTo>
                    <a:pt x="7" y="1076"/>
                  </a:lnTo>
                  <a:lnTo>
                    <a:pt x="0" y="1042"/>
                  </a:lnTo>
                  <a:lnTo>
                    <a:pt x="0" y="1008"/>
                  </a:lnTo>
                  <a:lnTo>
                    <a:pt x="7" y="976"/>
                  </a:lnTo>
                  <a:lnTo>
                    <a:pt x="23" y="944"/>
                  </a:lnTo>
                  <a:lnTo>
                    <a:pt x="45" y="917"/>
                  </a:lnTo>
                  <a:lnTo>
                    <a:pt x="917" y="43"/>
                  </a:lnTo>
                  <a:lnTo>
                    <a:pt x="946" y="23"/>
                  </a:lnTo>
                  <a:lnTo>
                    <a:pt x="976" y="8"/>
                  </a:lnTo>
                  <a:lnTo>
                    <a:pt x="1010" y="0"/>
                  </a:lnTo>
                  <a:lnTo>
                    <a:pt x="10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8" name="Freeform 193">
              <a:extLst>
                <a:ext uri="{FF2B5EF4-FFF2-40B4-BE49-F238E27FC236}">
                  <a16:creationId xmlns:a16="http://schemas.microsoft.com/office/drawing/2014/main" id="{AFCF0568-B47C-401D-A203-5E7C7440F082}"/>
                </a:ext>
              </a:extLst>
            </p:cNvPr>
            <p:cNvSpPr>
              <a:spLocks/>
            </p:cNvSpPr>
            <p:nvPr/>
          </p:nvSpPr>
          <p:spPr bwMode="auto">
            <a:xfrm>
              <a:off x="8658225" y="1344613"/>
              <a:ext cx="935038" cy="936625"/>
            </a:xfrm>
            <a:custGeom>
              <a:avLst/>
              <a:gdLst>
                <a:gd name="T0" fmla="*/ 170 w 1178"/>
                <a:gd name="T1" fmla="*/ 0 h 1179"/>
                <a:gd name="T2" fmla="*/ 202 w 1178"/>
                <a:gd name="T3" fmla="*/ 8 h 1179"/>
                <a:gd name="T4" fmla="*/ 234 w 1178"/>
                <a:gd name="T5" fmla="*/ 23 h 1179"/>
                <a:gd name="T6" fmla="*/ 262 w 1178"/>
                <a:gd name="T7" fmla="*/ 43 h 1179"/>
                <a:gd name="T8" fmla="*/ 1134 w 1178"/>
                <a:gd name="T9" fmla="*/ 917 h 1179"/>
                <a:gd name="T10" fmla="*/ 1155 w 1178"/>
                <a:gd name="T11" fmla="*/ 944 h 1179"/>
                <a:gd name="T12" fmla="*/ 1170 w 1178"/>
                <a:gd name="T13" fmla="*/ 976 h 1179"/>
                <a:gd name="T14" fmla="*/ 1178 w 1178"/>
                <a:gd name="T15" fmla="*/ 1008 h 1179"/>
                <a:gd name="T16" fmla="*/ 1178 w 1178"/>
                <a:gd name="T17" fmla="*/ 1042 h 1179"/>
                <a:gd name="T18" fmla="*/ 1170 w 1178"/>
                <a:gd name="T19" fmla="*/ 1076 h 1179"/>
                <a:gd name="T20" fmla="*/ 1155 w 1178"/>
                <a:gd name="T21" fmla="*/ 1106 h 1179"/>
                <a:gd name="T22" fmla="*/ 1134 w 1178"/>
                <a:gd name="T23" fmla="*/ 1134 h 1179"/>
                <a:gd name="T24" fmla="*/ 1100 w 1178"/>
                <a:gd name="T25" fmla="*/ 1159 h 1179"/>
                <a:gd name="T26" fmla="*/ 1065 w 1178"/>
                <a:gd name="T27" fmla="*/ 1174 h 1179"/>
                <a:gd name="T28" fmla="*/ 1025 w 1178"/>
                <a:gd name="T29" fmla="*/ 1179 h 1179"/>
                <a:gd name="T30" fmla="*/ 995 w 1178"/>
                <a:gd name="T31" fmla="*/ 1176 h 1179"/>
                <a:gd name="T32" fmla="*/ 966 w 1178"/>
                <a:gd name="T33" fmla="*/ 1168 h 1179"/>
                <a:gd name="T34" fmla="*/ 940 w 1178"/>
                <a:gd name="T35" fmla="*/ 1153 h 1179"/>
                <a:gd name="T36" fmla="*/ 915 w 1178"/>
                <a:gd name="T37" fmla="*/ 1134 h 1179"/>
                <a:gd name="T38" fmla="*/ 43 w 1178"/>
                <a:gd name="T39" fmla="*/ 262 h 1179"/>
                <a:gd name="T40" fmla="*/ 21 w 1178"/>
                <a:gd name="T41" fmla="*/ 234 h 1179"/>
                <a:gd name="T42" fmla="*/ 7 w 1178"/>
                <a:gd name="T43" fmla="*/ 202 h 1179"/>
                <a:gd name="T44" fmla="*/ 0 w 1178"/>
                <a:gd name="T45" fmla="*/ 170 h 1179"/>
                <a:gd name="T46" fmla="*/ 0 w 1178"/>
                <a:gd name="T47" fmla="*/ 136 h 1179"/>
                <a:gd name="T48" fmla="*/ 7 w 1178"/>
                <a:gd name="T49" fmla="*/ 104 h 1179"/>
                <a:gd name="T50" fmla="*/ 21 w 1178"/>
                <a:gd name="T51" fmla="*/ 72 h 1179"/>
                <a:gd name="T52" fmla="*/ 43 w 1178"/>
                <a:gd name="T53" fmla="*/ 43 h 1179"/>
                <a:gd name="T54" fmla="*/ 72 w 1178"/>
                <a:gd name="T55" fmla="*/ 23 h 1179"/>
                <a:gd name="T56" fmla="*/ 102 w 1178"/>
                <a:gd name="T57" fmla="*/ 8 h 1179"/>
                <a:gd name="T58" fmla="*/ 136 w 1178"/>
                <a:gd name="T59" fmla="*/ 0 h 1179"/>
                <a:gd name="T60" fmla="*/ 170 w 1178"/>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8" h="1179">
                  <a:moveTo>
                    <a:pt x="170" y="0"/>
                  </a:moveTo>
                  <a:lnTo>
                    <a:pt x="202" y="8"/>
                  </a:lnTo>
                  <a:lnTo>
                    <a:pt x="234" y="23"/>
                  </a:lnTo>
                  <a:lnTo>
                    <a:pt x="262" y="43"/>
                  </a:lnTo>
                  <a:lnTo>
                    <a:pt x="1134" y="917"/>
                  </a:lnTo>
                  <a:lnTo>
                    <a:pt x="1155" y="944"/>
                  </a:lnTo>
                  <a:lnTo>
                    <a:pt x="1170" y="976"/>
                  </a:lnTo>
                  <a:lnTo>
                    <a:pt x="1178" y="1008"/>
                  </a:lnTo>
                  <a:lnTo>
                    <a:pt x="1178" y="1042"/>
                  </a:lnTo>
                  <a:lnTo>
                    <a:pt x="1170" y="1076"/>
                  </a:lnTo>
                  <a:lnTo>
                    <a:pt x="1155" y="1106"/>
                  </a:lnTo>
                  <a:lnTo>
                    <a:pt x="1134" y="1134"/>
                  </a:lnTo>
                  <a:lnTo>
                    <a:pt x="1100" y="1159"/>
                  </a:lnTo>
                  <a:lnTo>
                    <a:pt x="1065" y="1174"/>
                  </a:lnTo>
                  <a:lnTo>
                    <a:pt x="1025" y="1179"/>
                  </a:lnTo>
                  <a:lnTo>
                    <a:pt x="995" y="1176"/>
                  </a:lnTo>
                  <a:lnTo>
                    <a:pt x="966" y="1168"/>
                  </a:lnTo>
                  <a:lnTo>
                    <a:pt x="940" y="1153"/>
                  </a:lnTo>
                  <a:lnTo>
                    <a:pt x="915" y="1134"/>
                  </a:lnTo>
                  <a:lnTo>
                    <a:pt x="43" y="262"/>
                  </a:lnTo>
                  <a:lnTo>
                    <a:pt x="21" y="234"/>
                  </a:lnTo>
                  <a:lnTo>
                    <a:pt x="7" y="202"/>
                  </a:lnTo>
                  <a:lnTo>
                    <a:pt x="0" y="170"/>
                  </a:lnTo>
                  <a:lnTo>
                    <a:pt x="0" y="136"/>
                  </a:lnTo>
                  <a:lnTo>
                    <a:pt x="7" y="104"/>
                  </a:lnTo>
                  <a:lnTo>
                    <a:pt x="21" y="72"/>
                  </a:lnTo>
                  <a:lnTo>
                    <a:pt x="43" y="43"/>
                  </a:lnTo>
                  <a:lnTo>
                    <a:pt x="72" y="23"/>
                  </a:lnTo>
                  <a:lnTo>
                    <a:pt x="102" y="8"/>
                  </a:lnTo>
                  <a:lnTo>
                    <a:pt x="136" y="0"/>
                  </a:lnTo>
                  <a:lnTo>
                    <a:pt x="1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9" name="Freeform 194">
              <a:extLst>
                <a:ext uri="{FF2B5EF4-FFF2-40B4-BE49-F238E27FC236}">
                  <a16:creationId xmlns:a16="http://schemas.microsoft.com/office/drawing/2014/main" id="{681B9FA2-0B9E-46C9-86C1-85CC001FBA52}"/>
                </a:ext>
              </a:extLst>
            </p:cNvPr>
            <p:cNvSpPr>
              <a:spLocks noEditPoints="1"/>
            </p:cNvSpPr>
            <p:nvPr/>
          </p:nvSpPr>
          <p:spPr bwMode="auto">
            <a:xfrm>
              <a:off x="8272463" y="2347913"/>
              <a:ext cx="3489325" cy="3368675"/>
            </a:xfrm>
            <a:custGeom>
              <a:avLst/>
              <a:gdLst>
                <a:gd name="T0" fmla="*/ 307 w 4394"/>
                <a:gd name="T1" fmla="*/ 1901 h 4245"/>
                <a:gd name="T2" fmla="*/ 315 w 4394"/>
                <a:gd name="T3" fmla="*/ 3826 h 4245"/>
                <a:gd name="T4" fmla="*/ 912 w 4394"/>
                <a:gd name="T5" fmla="*/ 3816 h 4245"/>
                <a:gd name="T6" fmla="*/ 902 w 4394"/>
                <a:gd name="T7" fmla="*/ 1891 h 4245"/>
                <a:gd name="T8" fmla="*/ 2139 w 4394"/>
                <a:gd name="T9" fmla="*/ 933 h 4245"/>
                <a:gd name="T10" fmla="*/ 2063 w 4394"/>
                <a:gd name="T11" fmla="*/ 1306 h 4245"/>
                <a:gd name="T12" fmla="*/ 1842 w 4394"/>
                <a:gd name="T13" fmla="*/ 1627 h 4245"/>
                <a:gd name="T14" fmla="*/ 1561 w 4394"/>
                <a:gd name="T15" fmla="*/ 1841 h 4245"/>
                <a:gd name="T16" fmla="*/ 1357 w 4394"/>
                <a:gd name="T17" fmla="*/ 1941 h 4245"/>
                <a:gd name="T18" fmla="*/ 1242 w 4394"/>
                <a:gd name="T19" fmla="*/ 1982 h 4245"/>
                <a:gd name="T20" fmla="*/ 1219 w 4394"/>
                <a:gd name="T21" fmla="*/ 1988 h 4245"/>
                <a:gd name="T22" fmla="*/ 1238 w 4394"/>
                <a:gd name="T23" fmla="*/ 3711 h 4245"/>
                <a:gd name="T24" fmla="*/ 1385 w 4394"/>
                <a:gd name="T25" fmla="*/ 3890 h 4245"/>
                <a:gd name="T26" fmla="*/ 3392 w 4394"/>
                <a:gd name="T27" fmla="*/ 3937 h 4245"/>
                <a:gd name="T28" fmla="*/ 3634 w 4394"/>
                <a:gd name="T29" fmla="*/ 3894 h 4245"/>
                <a:gd name="T30" fmla="*/ 3768 w 4394"/>
                <a:gd name="T31" fmla="*/ 3794 h 4245"/>
                <a:gd name="T32" fmla="*/ 3826 w 4394"/>
                <a:gd name="T33" fmla="*/ 3675 h 4245"/>
                <a:gd name="T34" fmla="*/ 3843 w 4394"/>
                <a:gd name="T35" fmla="*/ 3582 h 4245"/>
                <a:gd name="T36" fmla="*/ 4087 w 4394"/>
                <a:gd name="T37" fmla="*/ 2046 h 4245"/>
                <a:gd name="T38" fmla="*/ 4032 w 4394"/>
                <a:gd name="T39" fmla="*/ 1848 h 4245"/>
                <a:gd name="T40" fmla="*/ 3864 w 4394"/>
                <a:gd name="T41" fmla="*/ 1710 h 4245"/>
                <a:gd name="T42" fmla="*/ 2676 w 4394"/>
                <a:gd name="T43" fmla="*/ 1684 h 4245"/>
                <a:gd name="T44" fmla="*/ 2569 w 4394"/>
                <a:gd name="T45" fmla="*/ 1576 h 4245"/>
                <a:gd name="T46" fmla="*/ 2554 w 4394"/>
                <a:gd name="T47" fmla="*/ 610 h 4245"/>
                <a:gd name="T48" fmla="*/ 2463 w 4394"/>
                <a:gd name="T49" fmla="*/ 401 h 4245"/>
                <a:gd name="T50" fmla="*/ 2282 w 4394"/>
                <a:gd name="T51" fmla="*/ 312 h 4245"/>
                <a:gd name="T52" fmla="*/ 2233 w 4394"/>
                <a:gd name="T53" fmla="*/ 0 h 4245"/>
                <a:gd name="T54" fmla="*/ 2484 w 4394"/>
                <a:gd name="T55" fmla="*/ 51 h 4245"/>
                <a:gd name="T56" fmla="*/ 2712 w 4394"/>
                <a:gd name="T57" fmla="*/ 219 h 4245"/>
                <a:gd name="T58" fmla="*/ 2843 w 4394"/>
                <a:gd name="T59" fmla="*/ 493 h 4245"/>
                <a:gd name="T60" fmla="*/ 2871 w 4394"/>
                <a:gd name="T61" fmla="*/ 1384 h 4245"/>
                <a:gd name="T62" fmla="*/ 3971 w 4394"/>
                <a:gd name="T63" fmla="*/ 1423 h 4245"/>
                <a:gd name="T64" fmla="*/ 4221 w 4394"/>
                <a:gd name="T65" fmla="*/ 1591 h 4245"/>
                <a:gd name="T66" fmla="*/ 4366 w 4394"/>
                <a:gd name="T67" fmla="*/ 1848 h 4245"/>
                <a:gd name="T68" fmla="*/ 4387 w 4394"/>
                <a:gd name="T69" fmla="*/ 2148 h 4245"/>
                <a:gd name="T70" fmla="*/ 4075 w 4394"/>
                <a:gd name="T71" fmla="*/ 3873 h 4245"/>
                <a:gd name="T72" fmla="*/ 3864 w 4394"/>
                <a:gd name="T73" fmla="*/ 4117 h 4245"/>
                <a:gd name="T74" fmla="*/ 3567 w 4394"/>
                <a:gd name="T75" fmla="*/ 4230 h 4245"/>
                <a:gd name="T76" fmla="*/ 1470 w 4394"/>
                <a:gd name="T77" fmla="*/ 4237 h 4245"/>
                <a:gd name="T78" fmla="*/ 1168 w 4394"/>
                <a:gd name="T79" fmla="*/ 4113 h 4245"/>
                <a:gd name="T80" fmla="*/ 959 w 4394"/>
                <a:gd name="T81" fmla="*/ 4128 h 4245"/>
                <a:gd name="T82" fmla="*/ 206 w 4394"/>
                <a:gd name="T83" fmla="*/ 4113 h 4245"/>
                <a:gd name="T84" fmla="*/ 43 w 4394"/>
                <a:gd name="T85" fmla="*/ 3975 h 4245"/>
                <a:gd name="T86" fmla="*/ 0 w 4394"/>
                <a:gd name="T87" fmla="*/ 1901 h 4245"/>
                <a:gd name="T88" fmla="*/ 73 w 4394"/>
                <a:gd name="T89" fmla="*/ 1697 h 4245"/>
                <a:gd name="T90" fmla="*/ 258 w 4394"/>
                <a:gd name="T91" fmla="*/ 1590 h 4245"/>
                <a:gd name="T92" fmla="*/ 1008 w 4394"/>
                <a:gd name="T93" fmla="*/ 1603 h 4245"/>
                <a:gd name="T94" fmla="*/ 1153 w 4394"/>
                <a:gd name="T95" fmla="*/ 1686 h 4245"/>
                <a:gd name="T96" fmla="*/ 1255 w 4394"/>
                <a:gd name="T97" fmla="*/ 1648 h 4245"/>
                <a:gd name="T98" fmla="*/ 1451 w 4394"/>
                <a:gd name="T99" fmla="*/ 1544 h 4245"/>
                <a:gd name="T100" fmla="*/ 1704 w 4394"/>
                <a:gd name="T101" fmla="*/ 1318 h 4245"/>
                <a:gd name="T102" fmla="*/ 1827 w 4394"/>
                <a:gd name="T103" fmla="*/ 1016 h 4245"/>
                <a:gd name="T104" fmla="*/ 1852 w 4394"/>
                <a:gd name="T105" fmla="*/ 108 h 4245"/>
                <a:gd name="T106" fmla="*/ 1948 w 4394"/>
                <a:gd name="T107" fmla="*/ 34 h 4245"/>
                <a:gd name="T108" fmla="*/ 2072 w 4394"/>
                <a:gd name="T109" fmla="*/ 8 h 4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94" h="4245">
                  <a:moveTo>
                    <a:pt x="315" y="1891"/>
                  </a:moveTo>
                  <a:lnTo>
                    <a:pt x="311" y="1891"/>
                  </a:lnTo>
                  <a:lnTo>
                    <a:pt x="307" y="1895"/>
                  </a:lnTo>
                  <a:lnTo>
                    <a:pt x="307" y="1901"/>
                  </a:lnTo>
                  <a:lnTo>
                    <a:pt x="307" y="3816"/>
                  </a:lnTo>
                  <a:lnTo>
                    <a:pt x="307" y="3820"/>
                  </a:lnTo>
                  <a:lnTo>
                    <a:pt x="311" y="3824"/>
                  </a:lnTo>
                  <a:lnTo>
                    <a:pt x="315" y="3826"/>
                  </a:lnTo>
                  <a:lnTo>
                    <a:pt x="902" y="3826"/>
                  </a:lnTo>
                  <a:lnTo>
                    <a:pt x="908" y="3824"/>
                  </a:lnTo>
                  <a:lnTo>
                    <a:pt x="910" y="3820"/>
                  </a:lnTo>
                  <a:lnTo>
                    <a:pt x="912" y="3816"/>
                  </a:lnTo>
                  <a:lnTo>
                    <a:pt x="912" y="1901"/>
                  </a:lnTo>
                  <a:lnTo>
                    <a:pt x="910" y="1895"/>
                  </a:lnTo>
                  <a:lnTo>
                    <a:pt x="908" y="1891"/>
                  </a:lnTo>
                  <a:lnTo>
                    <a:pt x="902" y="1891"/>
                  </a:lnTo>
                  <a:lnTo>
                    <a:pt x="315" y="1891"/>
                  </a:lnTo>
                  <a:close/>
                  <a:moveTo>
                    <a:pt x="2184" y="306"/>
                  </a:moveTo>
                  <a:lnTo>
                    <a:pt x="2139" y="310"/>
                  </a:lnTo>
                  <a:lnTo>
                    <a:pt x="2139" y="933"/>
                  </a:lnTo>
                  <a:lnTo>
                    <a:pt x="2135" y="1029"/>
                  </a:lnTo>
                  <a:lnTo>
                    <a:pt x="2120" y="1125"/>
                  </a:lnTo>
                  <a:lnTo>
                    <a:pt x="2097" y="1218"/>
                  </a:lnTo>
                  <a:lnTo>
                    <a:pt x="2063" y="1306"/>
                  </a:lnTo>
                  <a:lnTo>
                    <a:pt x="2021" y="1391"/>
                  </a:lnTo>
                  <a:lnTo>
                    <a:pt x="1970" y="1474"/>
                  </a:lnTo>
                  <a:lnTo>
                    <a:pt x="1910" y="1552"/>
                  </a:lnTo>
                  <a:lnTo>
                    <a:pt x="1842" y="1627"/>
                  </a:lnTo>
                  <a:lnTo>
                    <a:pt x="1763" y="1697"/>
                  </a:lnTo>
                  <a:lnTo>
                    <a:pt x="1678" y="1765"/>
                  </a:lnTo>
                  <a:lnTo>
                    <a:pt x="1619" y="1805"/>
                  </a:lnTo>
                  <a:lnTo>
                    <a:pt x="1561" y="1841"/>
                  </a:lnTo>
                  <a:lnTo>
                    <a:pt x="1504" y="1871"/>
                  </a:lnTo>
                  <a:lnTo>
                    <a:pt x="1451" y="1897"/>
                  </a:lnTo>
                  <a:lnTo>
                    <a:pt x="1402" y="1922"/>
                  </a:lnTo>
                  <a:lnTo>
                    <a:pt x="1357" y="1941"/>
                  </a:lnTo>
                  <a:lnTo>
                    <a:pt x="1317" y="1956"/>
                  </a:lnTo>
                  <a:lnTo>
                    <a:pt x="1283" y="1967"/>
                  </a:lnTo>
                  <a:lnTo>
                    <a:pt x="1259" y="1976"/>
                  </a:lnTo>
                  <a:lnTo>
                    <a:pt x="1242" y="1982"/>
                  </a:lnTo>
                  <a:lnTo>
                    <a:pt x="1234" y="1984"/>
                  </a:lnTo>
                  <a:lnTo>
                    <a:pt x="1231" y="1984"/>
                  </a:lnTo>
                  <a:lnTo>
                    <a:pt x="1229" y="1984"/>
                  </a:lnTo>
                  <a:lnTo>
                    <a:pt x="1219" y="1988"/>
                  </a:lnTo>
                  <a:lnTo>
                    <a:pt x="1219" y="3633"/>
                  </a:lnTo>
                  <a:lnTo>
                    <a:pt x="1221" y="3643"/>
                  </a:lnTo>
                  <a:lnTo>
                    <a:pt x="1223" y="3652"/>
                  </a:lnTo>
                  <a:lnTo>
                    <a:pt x="1238" y="3711"/>
                  </a:lnTo>
                  <a:lnTo>
                    <a:pt x="1263" y="3766"/>
                  </a:lnTo>
                  <a:lnTo>
                    <a:pt x="1297" y="3815"/>
                  </a:lnTo>
                  <a:lnTo>
                    <a:pt x="1338" y="3856"/>
                  </a:lnTo>
                  <a:lnTo>
                    <a:pt x="1385" y="3890"/>
                  </a:lnTo>
                  <a:lnTo>
                    <a:pt x="1438" y="3917"/>
                  </a:lnTo>
                  <a:lnTo>
                    <a:pt x="1495" y="3932"/>
                  </a:lnTo>
                  <a:lnTo>
                    <a:pt x="1555" y="3937"/>
                  </a:lnTo>
                  <a:lnTo>
                    <a:pt x="3392" y="3937"/>
                  </a:lnTo>
                  <a:lnTo>
                    <a:pt x="3464" y="3935"/>
                  </a:lnTo>
                  <a:lnTo>
                    <a:pt x="3528" y="3926"/>
                  </a:lnTo>
                  <a:lnTo>
                    <a:pt x="3584" y="3913"/>
                  </a:lnTo>
                  <a:lnTo>
                    <a:pt x="3634" y="3894"/>
                  </a:lnTo>
                  <a:lnTo>
                    <a:pt x="3675" y="3873"/>
                  </a:lnTo>
                  <a:lnTo>
                    <a:pt x="3711" y="3849"/>
                  </a:lnTo>
                  <a:lnTo>
                    <a:pt x="3743" y="3822"/>
                  </a:lnTo>
                  <a:lnTo>
                    <a:pt x="3768" y="3794"/>
                  </a:lnTo>
                  <a:lnTo>
                    <a:pt x="3788" y="3764"/>
                  </a:lnTo>
                  <a:lnTo>
                    <a:pt x="3803" y="3733"/>
                  </a:lnTo>
                  <a:lnTo>
                    <a:pt x="3817" y="3703"/>
                  </a:lnTo>
                  <a:lnTo>
                    <a:pt x="3826" y="3675"/>
                  </a:lnTo>
                  <a:lnTo>
                    <a:pt x="3834" y="3647"/>
                  </a:lnTo>
                  <a:lnTo>
                    <a:pt x="3839" y="3622"/>
                  </a:lnTo>
                  <a:lnTo>
                    <a:pt x="3841" y="3599"/>
                  </a:lnTo>
                  <a:lnTo>
                    <a:pt x="3843" y="3582"/>
                  </a:lnTo>
                  <a:lnTo>
                    <a:pt x="3845" y="3579"/>
                  </a:lnTo>
                  <a:lnTo>
                    <a:pt x="3845" y="3575"/>
                  </a:lnTo>
                  <a:lnTo>
                    <a:pt x="4083" y="2099"/>
                  </a:lnTo>
                  <a:lnTo>
                    <a:pt x="4087" y="2046"/>
                  </a:lnTo>
                  <a:lnTo>
                    <a:pt x="4083" y="1993"/>
                  </a:lnTo>
                  <a:lnTo>
                    <a:pt x="4073" y="1942"/>
                  </a:lnTo>
                  <a:lnTo>
                    <a:pt x="4056" y="1895"/>
                  </a:lnTo>
                  <a:lnTo>
                    <a:pt x="4032" y="1848"/>
                  </a:lnTo>
                  <a:lnTo>
                    <a:pt x="4002" y="1807"/>
                  </a:lnTo>
                  <a:lnTo>
                    <a:pt x="3966" y="1771"/>
                  </a:lnTo>
                  <a:lnTo>
                    <a:pt x="3917" y="1737"/>
                  </a:lnTo>
                  <a:lnTo>
                    <a:pt x="3864" y="1710"/>
                  </a:lnTo>
                  <a:lnTo>
                    <a:pt x="3809" y="1695"/>
                  </a:lnTo>
                  <a:lnTo>
                    <a:pt x="3752" y="1690"/>
                  </a:lnTo>
                  <a:lnTo>
                    <a:pt x="2718" y="1690"/>
                  </a:lnTo>
                  <a:lnTo>
                    <a:pt x="2676" y="1684"/>
                  </a:lnTo>
                  <a:lnTo>
                    <a:pt x="2641" y="1669"/>
                  </a:lnTo>
                  <a:lnTo>
                    <a:pt x="2609" y="1644"/>
                  </a:lnTo>
                  <a:lnTo>
                    <a:pt x="2586" y="1614"/>
                  </a:lnTo>
                  <a:lnTo>
                    <a:pt x="2569" y="1576"/>
                  </a:lnTo>
                  <a:lnTo>
                    <a:pt x="2565" y="1537"/>
                  </a:lnTo>
                  <a:lnTo>
                    <a:pt x="2565" y="761"/>
                  </a:lnTo>
                  <a:lnTo>
                    <a:pt x="2561" y="682"/>
                  </a:lnTo>
                  <a:lnTo>
                    <a:pt x="2554" y="610"/>
                  </a:lnTo>
                  <a:lnTo>
                    <a:pt x="2539" y="546"/>
                  </a:lnTo>
                  <a:lnTo>
                    <a:pt x="2520" y="489"/>
                  </a:lnTo>
                  <a:lnTo>
                    <a:pt x="2493" y="440"/>
                  </a:lnTo>
                  <a:lnTo>
                    <a:pt x="2463" y="401"/>
                  </a:lnTo>
                  <a:lnTo>
                    <a:pt x="2425" y="367"/>
                  </a:lnTo>
                  <a:lnTo>
                    <a:pt x="2380" y="340"/>
                  </a:lnTo>
                  <a:lnTo>
                    <a:pt x="2333" y="321"/>
                  </a:lnTo>
                  <a:lnTo>
                    <a:pt x="2282" y="312"/>
                  </a:lnTo>
                  <a:lnTo>
                    <a:pt x="2231" y="306"/>
                  </a:lnTo>
                  <a:lnTo>
                    <a:pt x="2184" y="306"/>
                  </a:lnTo>
                  <a:close/>
                  <a:moveTo>
                    <a:pt x="2176" y="0"/>
                  </a:moveTo>
                  <a:lnTo>
                    <a:pt x="2233" y="0"/>
                  </a:lnTo>
                  <a:lnTo>
                    <a:pt x="2295" y="4"/>
                  </a:lnTo>
                  <a:lnTo>
                    <a:pt x="2357" y="14"/>
                  </a:lnTo>
                  <a:lnTo>
                    <a:pt x="2422" y="29"/>
                  </a:lnTo>
                  <a:lnTo>
                    <a:pt x="2484" y="51"/>
                  </a:lnTo>
                  <a:lnTo>
                    <a:pt x="2546" y="82"/>
                  </a:lnTo>
                  <a:lnTo>
                    <a:pt x="2609" y="119"/>
                  </a:lnTo>
                  <a:lnTo>
                    <a:pt x="2663" y="167"/>
                  </a:lnTo>
                  <a:lnTo>
                    <a:pt x="2712" y="219"/>
                  </a:lnTo>
                  <a:lnTo>
                    <a:pt x="2754" y="278"/>
                  </a:lnTo>
                  <a:lnTo>
                    <a:pt x="2790" y="344"/>
                  </a:lnTo>
                  <a:lnTo>
                    <a:pt x="2820" y="416"/>
                  </a:lnTo>
                  <a:lnTo>
                    <a:pt x="2843" y="493"/>
                  </a:lnTo>
                  <a:lnTo>
                    <a:pt x="2858" y="576"/>
                  </a:lnTo>
                  <a:lnTo>
                    <a:pt x="2869" y="667"/>
                  </a:lnTo>
                  <a:lnTo>
                    <a:pt x="2871" y="763"/>
                  </a:lnTo>
                  <a:lnTo>
                    <a:pt x="2871" y="1384"/>
                  </a:lnTo>
                  <a:lnTo>
                    <a:pt x="3752" y="1384"/>
                  </a:lnTo>
                  <a:lnTo>
                    <a:pt x="3826" y="1388"/>
                  </a:lnTo>
                  <a:lnTo>
                    <a:pt x="3900" y="1403"/>
                  </a:lnTo>
                  <a:lnTo>
                    <a:pt x="3971" y="1423"/>
                  </a:lnTo>
                  <a:lnTo>
                    <a:pt x="4039" y="1454"/>
                  </a:lnTo>
                  <a:lnTo>
                    <a:pt x="4105" y="1493"/>
                  </a:lnTo>
                  <a:lnTo>
                    <a:pt x="4166" y="1539"/>
                  </a:lnTo>
                  <a:lnTo>
                    <a:pt x="4221" y="1591"/>
                  </a:lnTo>
                  <a:lnTo>
                    <a:pt x="4268" y="1648"/>
                  </a:lnTo>
                  <a:lnTo>
                    <a:pt x="4307" y="1712"/>
                  </a:lnTo>
                  <a:lnTo>
                    <a:pt x="4341" y="1778"/>
                  </a:lnTo>
                  <a:lnTo>
                    <a:pt x="4366" y="1848"/>
                  </a:lnTo>
                  <a:lnTo>
                    <a:pt x="4383" y="1922"/>
                  </a:lnTo>
                  <a:lnTo>
                    <a:pt x="4392" y="1995"/>
                  </a:lnTo>
                  <a:lnTo>
                    <a:pt x="4394" y="2071"/>
                  </a:lnTo>
                  <a:lnTo>
                    <a:pt x="4387" y="2148"/>
                  </a:lnTo>
                  <a:lnTo>
                    <a:pt x="4149" y="3620"/>
                  </a:lnTo>
                  <a:lnTo>
                    <a:pt x="4132" y="3711"/>
                  </a:lnTo>
                  <a:lnTo>
                    <a:pt x="4107" y="3796"/>
                  </a:lnTo>
                  <a:lnTo>
                    <a:pt x="4075" y="3873"/>
                  </a:lnTo>
                  <a:lnTo>
                    <a:pt x="4034" y="3945"/>
                  </a:lnTo>
                  <a:lnTo>
                    <a:pt x="3985" y="4009"/>
                  </a:lnTo>
                  <a:lnTo>
                    <a:pt x="3928" y="4066"/>
                  </a:lnTo>
                  <a:lnTo>
                    <a:pt x="3864" y="4117"/>
                  </a:lnTo>
                  <a:lnTo>
                    <a:pt x="3798" y="4154"/>
                  </a:lnTo>
                  <a:lnTo>
                    <a:pt x="3726" y="4186"/>
                  </a:lnTo>
                  <a:lnTo>
                    <a:pt x="3651" y="4211"/>
                  </a:lnTo>
                  <a:lnTo>
                    <a:pt x="3567" y="4230"/>
                  </a:lnTo>
                  <a:lnTo>
                    <a:pt x="3483" y="4241"/>
                  </a:lnTo>
                  <a:lnTo>
                    <a:pt x="3392" y="4245"/>
                  </a:lnTo>
                  <a:lnTo>
                    <a:pt x="1555" y="4245"/>
                  </a:lnTo>
                  <a:lnTo>
                    <a:pt x="1470" y="4237"/>
                  </a:lnTo>
                  <a:lnTo>
                    <a:pt x="1389" y="4222"/>
                  </a:lnTo>
                  <a:lnTo>
                    <a:pt x="1310" y="4194"/>
                  </a:lnTo>
                  <a:lnTo>
                    <a:pt x="1236" y="4158"/>
                  </a:lnTo>
                  <a:lnTo>
                    <a:pt x="1168" y="4113"/>
                  </a:lnTo>
                  <a:lnTo>
                    <a:pt x="1106" y="4058"/>
                  </a:lnTo>
                  <a:lnTo>
                    <a:pt x="1061" y="4090"/>
                  </a:lnTo>
                  <a:lnTo>
                    <a:pt x="1012" y="4113"/>
                  </a:lnTo>
                  <a:lnTo>
                    <a:pt x="959" y="4128"/>
                  </a:lnTo>
                  <a:lnTo>
                    <a:pt x="902" y="4132"/>
                  </a:lnTo>
                  <a:lnTo>
                    <a:pt x="315" y="4132"/>
                  </a:lnTo>
                  <a:lnTo>
                    <a:pt x="258" y="4128"/>
                  </a:lnTo>
                  <a:lnTo>
                    <a:pt x="206" y="4113"/>
                  </a:lnTo>
                  <a:lnTo>
                    <a:pt x="156" y="4090"/>
                  </a:lnTo>
                  <a:lnTo>
                    <a:pt x="113" y="4058"/>
                  </a:lnTo>
                  <a:lnTo>
                    <a:pt x="73" y="4020"/>
                  </a:lnTo>
                  <a:lnTo>
                    <a:pt x="43" y="3975"/>
                  </a:lnTo>
                  <a:lnTo>
                    <a:pt x="19" y="3926"/>
                  </a:lnTo>
                  <a:lnTo>
                    <a:pt x="5" y="3873"/>
                  </a:lnTo>
                  <a:lnTo>
                    <a:pt x="0" y="3816"/>
                  </a:lnTo>
                  <a:lnTo>
                    <a:pt x="0" y="1901"/>
                  </a:lnTo>
                  <a:lnTo>
                    <a:pt x="5" y="1844"/>
                  </a:lnTo>
                  <a:lnTo>
                    <a:pt x="19" y="1790"/>
                  </a:lnTo>
                  <a:lnTo>
                    <a:pt x="43" y="1740"/>
                  </a:lnTo>
                  <a:lnTo>
                    <a:pt x="73" y="1697"/>
                  </a:lnTo>
                  <a:lnTo>
                    <a:pt x="113" y="1657"/>
                  </a:lnTo>
                  <a:lnTo>
                    <a:pt x="156" y="1627"/>
                  </a:lnTo>
                  <a:lnTo>
                    <a:pt x="206" y="1603"/>
                  </a:lnTo>
                  <a:lnTo>
                    <a:pt x="258" y="1590"/>
                  </a:lnTo>
                  <a:lnTo>
                    <a:pt x="315" y="1584"/>
                  </a:lnTo>
                  <a:lnTo>
                    <a:pt x="900" y="1584"/>
                  </a:lnTo>
                  <a:lnTo>
                    <a:pt x="955" y="1588"/>
                  </a:lnTo>
                  <a:lnTo>
                    <a:pt x="1008" y="1603"/>
                  </a:lnTo>
                  <a:lnTo>
                    <a:pt x="1057" y="1623"/>
                  </a:lnTo>
                  <a:lnTo>
                    <a:pt x="1100" y="1654"/>
                  </a:lnTo>
                  <a:lnTo>
                    <a:pt x="1136" y="1690"/>
                  </a:lnTo>
                  <a:lnTo>
                    <a:pt x="1153" y="1686"/>
                  </a:lnTo>
                  <a:lnTo>
                    <a:pt x="1164" y="1682"/>
                  </a:lnTo>
                  <a:lnTo>
                    <a:pt x="1187" y="1674"/>
                  </a:lnTo>
                  <a:lnTo>
                    <a:pt x="1217" y="1663"/>
                  </a:lnTo>
                  <a:lnTo>
                    <a:pt x="1255" y="1648"/>
                  </a:lnTo>
                  <a:lnTo>
                    <a:pt x="1298" y="1629"/>
                  </a:lnTo>
                  <a:lnTo>
                    <a:pt x="1346" y="1605"/>
                  </a:lnTo>
                  <a:lnTo>
                    <a:pt x="1399" y="1578"/>
                  </a:lnTo>
                  <a:lnTo>
                    <a:pt x="1451" y="1544"/>
                  </a:lnTo>
                  <a:lnTo>
                    <a:pt x="1506" y="1508"/>
                  </a:lnTo>
                  <a:lnTo>
                    <a:pt x="1582" y="1448"/>
                  </a:lnTo>
                  <a:lnTo>
                    <a:pt x="1648" y="1386"/>
                  </a:lnTo>
                  <a:lnTo>
                    <a:pt x="1704" y="1318"/>
                  </a:lnTo>
                  <a:lnTo>
                    <a:pt x="1750" y="1248"/>
                  </a:lnTo>
                  <a:lnTo>
                    <a:pt x="1786" y="1174"/>
                  </a:lnTo>
                  <a:lnTo>
                    <a:pt x="1810" y="1097"/>
                  </a:lnTo>
                  <a:lnTo>
                    <a:pt x="1827" y="1016"/>
                  </a:lnTo>
                  <a:lnTo>
                    <a:pt x="1831" y="933"/>
                  </a:lnTo>
                  <a:lnTo>
                    <a:pt x="1831" y="182"/>
                  </a:lnTo>
                  <a:lnTo>
                    <a:pt x="1836" y="144"/>
                  </a:lnTo>
                  <a:lnTo>
                    <a:pt x="1852" y="108"/>
                  </a:lnTo>
                  <a:lnTo>
                    <a:pt x="1874" y="78"/>
                  </a:lnTo>
                  <a:lnTo>
                    <a:pt x="1903" y="53"/>
                  </a:lnTo>
                  <a:lnTo>
                    <a:pt x="1938" y="36"/>
                  </a:lnTo>
                  <a:lnTo>
                    <a:pt x="1948" y="34"/>
                  </a:lnTo>
                  <a:lnTo>
                    <a:pt x="1967" y="29"/>
                  </a:lnTo>
                  <a:lnTo>
                    <a:pt x="1995" y="23"/>
                  </a:lnTo>
                  <a:lnTo>
                    <a:pt x="2031" y="16"/>
                  </a:lnTo>
                  <a:lnTo>
                    <a:pt x="2072" y="8"/>
                  </a:lnTo>
                  <a:lnTo>
                    <a:pt x="2122" y="4"/>
                  </a:lnTo>
                  <a:lnTo>
                    <a:pt x="21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450" name="Group 416">
            <a:extLst>
              <a:ext uri="{FF2B5EF4-FFF2-40B4-BE49-F238E27FC236}">
                <a16:creationId xmlns:a16="http://schemas.microsoft.com/office/drawing/2014/main" id="{F445D331-1E81-40EF-840C-2E78086874EF}"/>
              </a:ext>
            </a:extLst>
          </p:cNvPr>
          <p:cNvGrpSpPr/>
          <p:nvPr/>
        </p:nvGrpSpPr>
        <p:grpSpPr>
          <a:xfrm>
            <a:off x="5014842" y="5530425"/>
            <a:ext cx="287938" cy="353037"/>
            <a:chOff x="8105775" y="792163"/>
            <a:chExt cx="4016375" cy="4924425"/>
          </a:xfrm>
          <a:solidFill>
            <a:srgbClr val="1B9D91"/>
          </a:solidFill>
        </p:grpSpPr>
        <p:sp>
          <p:nvSpPr>
            <p:cNvPr id="451" name="Freeform 189">
              <a:extLst>
                <a:ext uri="{FF2B5EF4-FFF2-40B4-BE49-F238E27FC236}">
                  <a16:creationId xmlns:a16="http://schemas.microsoft.com/office/drawing/2014/main" id="{2EA7058C-CC23-4C5A-AF9D-7725441F9BCE}"/>
                </a:ext>
              </a:extLst>
            </p:cNvPr>
            <p:cNvSpPr>
              <a:spLocks/>
            </p:cNvSpPr>
            <p:nvPr/>
          </p:nvSpPr>
          <p:spPr bwMode="auto">
            <a:xfrm>
              <a:off x="8105775" y="2678113"/>
              <a:ext cx="1222375" cy="244475"/>
            </a:xfrm>
            <a:custGeom>
              <a:avLst/>
              <a:gdLst>
                <a:gd name="T0" fmla="*/ 153 w 1541"/>
                <a:gd name="T1" fmla="*/ 0 h 307"/>
                <a:gd name="T2" fmla="*/ 1386 w 1541"/>
                <a:gd name="T3" fmla="*/ 0 h 307"/>
                <a:gd name="T4" fmla="*/ 1427 w 1541"/>
                <a:gd name="T5" fmla="*/ 5 h 307"/>
                <a:gd name="T6" fmla="*/ 1463 w 1541"/>
                <a:gd name="T7" fmla="*/ 20 h 307"/>
                <a:gd name="T8" fmla="*/ 1495 w 1541"/>
                <a:gd name="T9" fmla="*/ 45 h 307"/>
                <a:gd name="T10" fmla="*/ 1518 w 1541"/>
                <a:gd name="T11" fmla="*/ 75 h 307"/>
                <a:gd name="T12" fmla="*/ 1535 w 1541"/>
                <a:gd name="T13" fmla="*/ 113 h 307"/>
                <a:gd name="T14" fmla="*/ 1541 w 1541"/>
                <a:gd name="T15" fmla="*/ 152 h 307"/>
                <a:gd name="T16" fmla="*/ 1535 w 1541"/>
                <a:gd name="T17" fmla="*/ 194 h 307"/>
                <a:gd name="T18" fmla="*/ 1518 w 1541"/>
                <a:gd name="T19" fmla="*/ 230 h 307"/>
                <a:gd name="T20" fmla="*/ 1495 w 1541"/>
                <a:gd name="T21" fmla="*/ 262 h 307"/>
                <a:gd name="T22" fmla="*/ 1463 w 1541"/>
                <a:gd name="T23" fmla="*/ 286 h 307"/>
                <a:gd name="T24" fmla="*/ 1427 w 1541"/>
                <a:gd name="T25" fmla="*/ 302 h 307"/>
                <a:gd name="T26" fmla="*/ 1386 w 1541"/>
                <a:gd name="T27" fmla="*/ 307 h 307"/>
                <a:gd name="T28" fmla="*/ 153 w 1541"/>
                <a:gd name="T29" fmla="*/ 307 h 307"/>
                <a:gd name="T30" fmla="*/ 114 w 1541"/>
                <a:gd name="T31" fmla="*/ 302 h 307"/>
                <a:gd name="T32" fmla="*/ 76 w 1541"/>
                <a:gd name="T33" fmla="*/ 286 h 307"/>
                <a:gd name="T34" fmla="*/ 46 w 1541"/>
                <a:gd name="T35" fmla="*/ 262 h 307"/>
                <a:gd name="T36" fmla="*/ 21 w 1541"/>
                <a:gd name="T37" fmla="*/ 230 h 307"/>
                <a:gd name="T38" fmla="*/ 6 w 1541"/>
                <a:gd name="T39" fmla="*/ 194 h 307"/>
                <a:gd name="T40" fmla="*/ 0 w 1541"/>
                <a:gd name="T41" fmla="*/ 152 h 307"/>
                <a:gd name="T42" fmla="*/ 6 w 1541"/>
                <a:gd name="T43" fmla="*/ 113 h 307"/>
                <a:gd name="T44" fmla="*/ 21 w 1541"/>
                <a:gd name="T45" fmla="*/ 75 h 307"/>
                <a:gd name="T46" fmla="*/ 46 w 1541"/>
                <a:gd name="T47" fmla="*/ 45 h 307"/>
                <a:gd name="T48" fmla="*/ 76 w 1541"/>
                <a:gd name="T49" fmla="*/ 20 h 307"/>
                <a:gd name="T50" fmla="*/ 114 w 1541"/>
                <a:gd name="T51" fmla="*/ 5 h 307"/>
                <a:gd name="T52" fmla="*/ 153 w 1541"/>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1" h="307">
                  <a:moveTo>
                    <a:pt x="153" y="0"/>
                  </a:moveTo>
                  <a:lnTo>
                    <a:pt x="1386" y="0"/>
                  </a:lnTo>
                  <a:lnTo>
                    <a:pt x="1427" y="5"/>
                  </a:lnTo>
                  <a:lnTo>
                    <a:pt x="1463" y="20"/>
                  </a:lnTo>
                  <a:lnTo>
                    <a:pt x="1495" y="45"/>
                  </a:lnTo>
                  <a:lnTo>
                    <a:pt x="1518" y="75"/>
                  </a:lnTo>
                  <a:lnTo>
                    <a:pt x="1535" y="113"/>
                  </a:lnTo>
                  <a:lnTo>
                    <a:pt x="1541" y="152"/>
                  </a:lnTo>
                  <a:lnTo>
                    <a:pt x="1535" y="194"/>
                  </a:lnTo>
                  <a:lnTo>
                    <a:pt x="1518" y="230"/>
                  </a:lnTo>
                  <a:lnTo>
                    <a:pt x="1495" y="262"/>
                  </a:lnTo>
                  <a:lnTo>
                    <a:pt x="1463" y="286"/>
                  </a:lnTo>
                  <a:lnTo>
                    <a:pt x="1427" y="302"/>
                  </a:lnTo>
                  <a:lnTo>
                    <a:pt x="1386" y="307"/>
                  </a:lnTo>
                  <a:lnTo>
                    <a:pt x="153" y="307"/>
                  </a:lnTo>
                  <a:lnTo>
                    <a:pt x="114" y="302"/>
                  </a:lnTo>
                  <a:lnTo>
                    <a:pt x="76" y="286"/>
                  </a:lnTo>
                  <a:lnTo>
                    <a:pt x="46" y="262"/>
                  </a:lnTo>
                  <a:lnTo>
                    <a:pt x="21" y="230"/>
                  </a:lnTo>
                  <a:lnTo>
                    <a:pt x="6" y="194"/>
                  </a:lnTo>
                  <a:lnTo>
                    <a:pt x="0" y="152"/>
                  </a:lnTo>
                  <a:lnTo>
                    <a:pt x="6" y="113"/>
                  </a:lnTo>
                  <a:lnTo>
                    <a:pt x="21" y="75"/>
                  </a:lnTo>
                  <a:lnTo>
                    <a:pt x="46" y="45"/>
                  </a:lnTo>
                  <a:lnTo>
                    <a:pt x="76" y="20"/>
                  </a:lnTo>
                  <a:lnTo>
                    <a:pt x="114"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2" name="Freeform 190">
              <a:extLst>
                <a:ext uri="{FF2B5EF4-FFF2-40B4-BE49-F238E27FC236}">
                  <a16:creationId xmlns:a16="http://schemas.microsoft.com/office/drawing/2014/main" id="{E8BDC25E-FBFA-400D-9FDE-CD95880968E3}"/>
                </a:ext>
              </a:extLst>
            </p:cNvPr>
            <p:cNvSpPr>
              <a:spLocks/>
            </p:cNvSpPr>
            <p:nvPr/>
          </p:nvSpPr>
          <p:spPr bwMode="auto">
            <a:xfrm>
              <a:off x="10899775" y="2678113"/>
              <a:ext cx="1222375" cy="244475"/>
            </a:xfrm>
            <a:custGeom>
              <a:avLst/>
              <a:gdLst>
                <a:gd name="T0" fmla="*/ 153 w 1540"/>
                <a:gd name="T1" fmla="*/ 0 h 307"/>
                <a:gd name="T2" fmla="*/ 1385 w 1540"/>
                <a:gd name="T3" fmla="*/ 0 h 307"/>
                <a:gd name="T4" fmla="*/ 1427 w 1540"/>
                <a:gd name="T5" fmla="*/ 5 h 307"/>
                <a:gd name="T6" fmla="*/ 1463 w 1540"/>
                <a:gd name="T7" fmla="*/ 20 h 307"/>
                <a:gd name="T8" fmla="*/ 1495 w 1540"/>
                <a:gd name="T9" fmla="*/ 45 h 307"/>
                <a:gd name="T10" fmla="*/ 1519 w 1540"/>
                <a:gd name="T11" fmla="*/ 75 h 307"/>
                <a:gd name="T12" fmla="*/ 1535 w 1540"/>
                <a:gd name="T13" fmla="*/ 113 h 307"/>
                <a:gd name="T14" fmla="*/ 1540 w 1540"/>
                <a:gd name="T15" fmla="*/ 152 h 307"/>
                <a:gd name="T16" fmla="*/ 1535 w 1540"/>
                <a:gd name="T17" fmla="*/ 194 h 307"/>
                <a:gd name="T18" fmla="*/ 1518 w 1540"/>
                <a:gd name="T19" fmla="*/ 230 h 307"/>
                <a:gd name="T20" fmla="*/ 1495 w 1540"/>
                <a:gd name="T21" fmla="*/ 262 h 307"/>
                <a:gd name="T22" fmla="*/ 1463 w 1540"/>
                <a:gd name="T23" fmla="*/ 286 h 307"/>
                <a:gd name="T24" fmla="*/ 1427 w 1540"/>
                <a:gd name="T25" fmla="*/ 302 h 307"/>
                <a:gd name="T26" fmla="*/ 1385 w 1540"/>
                <a:gd name="T27" fmla="*/ 307 h 307"/>
                <a:gd name="T28" fmla="*/ 153 w 1540"/>
                <a:gd name="T29" fmla="*/ 307 h 307"/>
                <a:gd name="T30" fmla="*/ 113 w 1540"/>
                <a:gd name="T31" fmla="*/ 302 h 307"/>
                <a:gd name="T32" fmla="*/ 75 w 1540"/>
                <a:gd name="T33" fmla="*/ 286 h 307"/>
                <a:gd name="T34" fmla="*/ 45 w 1540"/>
                <a:gd name="T35" fmla="*/ 262 h 307"/>
                <a:gd name="T36" fmla="*/ 21 w 1540"/>
                <a:gd name="T37" fmla="*/ 230 h 307"/>
                <a:gd name="T38" fmla="*/ 6 w 1540"/>
                <a:gd name="T39" fmla="*/ 194 h 307"/>
                <a:gd name="T40" fmla="*/ 0 w 1540"/>
                <a:gd name="T41" fmla="*/ 152 h 307"/>
                <a:gd name="T42" fmla="*/ 6 w 1540"/>
                <a:gd name="T43" fmla="*/ 113 h 307"/>
                <a:gd name="T44" fmla="*/ 21 w 1540"/>
                <a:gd name="T45" fmla="*/ 75 h 307"/>
                <a:gd name="T46" fmla="*/ 45 w 1540"/>
                <a:gd name="T47" fmla="*/ 45 h 307"/>
                <a:gd name="T48" fmla="*/ 75 w 1540"/>
                <a:gd name="T49" fmla="*/ 20 h 307"/>
                <a:gd name="T50" fmla="*/ 113 w 1540"/>
                <a:gd name="T51" fmla="*/ 5 h 307"/>
                <a:gd name="T52" fmla="*/ 153 w 1540"/>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0" h="307">
                  <a:moveTo>
                    <a:pt x="153" y="0"/>
                  </a:moveTo>
                  <a:lnTo>
                    <a:pt x="1385" y="0"/>
                  </a:lnTo>
                  <a:lnTo>
                    <a:pt x="1427" y="5"/>
                  </a:lnTo>
                  <a:lnTo>
                    <a:pt x="1463" y="20"/>
                  </a:lnTo>
                  <a:lnTo>
                    <a:pt x="1495" y="45"/>
                  </a:lnTo>
                  <a:lnTo>
                    <a:pt x="1519" y="75"/>
                  </a:lnTo>
                  <a:lnTo>
                    <a:pt x="1535" y="113"/>
                  </a:lnTo>
                  <a:lnTo>
                    <a:pt x="1540" y="152"/>
                  </a:lnTo>
                  <a:lnTo>
                    <a:pt x="1535" y="194"/>
                  </a:lnTo>
                  <a:lnTo>
                    <a:pt x="1518" y="230"/>
                  </a:lnTo>
                  <a:lnTo>
                    <a:pt x="1495" y="262"/>
                  </a:lnTo>
                  <a:lnTo>
                    <a:pt x="1463" y="286"/>
                  </a:lnTo>
                  <a:lnTo>
                    <a:pt x="1427" y="302"/>
                  </a:lnTo>
                  <a:lnTo>
                    <a:pt x="1385" y="307"/>
                  </a:lnTo>
                  <a:lnTo>
                    <a:pt x="153" y="307"/>
                  </a:lnTo>
                  <a:lnTo>
                    <a:pt x="113" y="302"/>
                  </a:lnTo>
                  <a:lnTo>
                    <a:pt x="75" y="286"/>
                  </a:lnTo>
                  <a:lnTo>
                    <a:pt x="45" y="262"/>
                  </a:lnTo>
                  <a:lnTo>
                    <a:pt x="21" y="230"/>
                  </a:lnTo>
                  <a:lnTo>
                    <a:pt x="6" y="194"/>
                  </a:lnTo>
                  <a:lnTo>
                    <a:pt x="0" y="152"/>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3" name="Freeform 191">
              <a:extLst>
                <a:ext uri="{FF2B5EF4-FFF2-40B4-BE49-F238E27FC236}">
                  <a16:creationId xmlns:a16="http://schemas.microsoft.com/office/drawing/2014/main" id="{72F4ED40-7CFE-4424-973B-4951CF40B7C7}"/>
                </a:ext>
              </a:extLst>
            </p:cNvPr>
            <p:cNvSpPr>
              <a:spLocks/>
            </p:cNvSpPr>
            <p:nvPr/>
          </p:nvSpPr>
          <p:spPr bwMode="auto">
            <a:xfrm>
              <a:off x="9991725" y="792163"/>
              <a:ext cx="244475" cy="1222375"/>
            </a:xfrm>
            <a:custGeom>
              <a:avLst/>
              <a:gdLst>
                <a:gd name="T0" fmla="*/ 153 w 308"/>
                <a:gd name="T1" fmla="*/ 0 h 1540"/>
                <a:gd name="T2" fmla="*/ 194 w 308"/>
                <a:gd name="T3" fmla="*/ 5 h 1540"/>
                <a:gd name="T4" fmla="*/ 230 w 308"/>
                <a:gd name="T5" fmla="*/ 20 h 1540"/>
                <a:gd name="T6" fmla="*/ 262 w 308"/>
                <a:gd name="T7" fmla="*/ 45 h 1540"/>
                <a:gd name="T8" fmla="*/ 285 w 308"/>
                <a:gd name="T9" fmla="*/ 75 h 1540"/>
                <a:gd name="T10" fmla="*/ 302 w 308"/>
                <a:gd name="T11" fmla="*/ 113 h 1540"/>
                <a:gd name="T12" fmla="*/ 308 w 308"/>
                <a:gd name="T13" fmla="*/ 154 h 1540"/>
                <a:gd name="T14" fmla="*/ 308 w 308"/>
                <a:gd name="T15" fmla="*/ 1385 h 1540"/>
                <a:gd name="T16" fmla="*/ 302 w 308"/>
                <a:gd name="T17" fmla="*/ 1426 h 1540"/>
                <a:gd name="T18" fmla="*/ 285 w 308"/>
                <a:gd name="T19" fmla="*/ 1462 h 1540"/>
                <a:gd name="T20" fmla="*/ 262 w 308"/>
                <a:gd name="T21" fmla="*/ 1494 h 1540"/>
                <a:gd name="T22" fmla="*/ 230 w 308"/>
                <a:gd name="T23" fmla="*/ 1519 h 1540"/>
                <a:gd name="T24" fmla="*/ 194 w 308"/>
                <a:gd name="T25" fmla="*/ 1534 h 1540"/>
                <a:gd name="T26" fmla="*/ 153 w 308"/>
                <a:gd name="T27" fmla="*/ 1540 h 1540"/>
                <a:gd name="T28" fmla="*/ 113 w 308"/>
                <a:gd name="T29" fmla="*/ 1534 h 1540"/>
                <a:gd name="T30" fmla="*/ 75 w 308"/>
                <a:gd name="T31" fmla="*/ 1519 h 1540"/>
                <a:gd name="T32" fmla="*/ 45 w 308"/>
                <a:gd name="T33" fmla="*/ 1494 h 1540"/>
                <a:gd name="T34" fmla="*/ 21 w 308"/>
                <a:gd name="T35" fmla="*/ 1462 h 1540"/>
                <a:gd name="T36" fmla="*/ 6 w 308"/>
                <a:gd name="T37" fmla="*/ 1426 h 1540"/>
                <a:gd name="T38" fmla="*/ 0 w 308"/>
                <a:gd name="T39" fmla="*/ 1385 h 1540"/>
                <a:gd name="T40" fmla="*/ 0 w 308"/>
                <a:gd name="T41" fmla="*/ 154 h 1540"/>
                <a:gd name="T42" fmla="*/ 6 w 308"/>
                <a:gd name="T43" fmla="*/ 113 h 1540"/>
                <a:gd name="T44" fmla="*/ 21 w 308"/>
                <a:gd name="T45" fmla="*/ 75 h 1540"/>
                <a:gd name="T46" fmla="*/ 45 w 308"/>
                <a:gd name="T47" fmla="*/ 45 h 1540"/>
                <a:gd name="T48" fmla="*/ 75 w 308"/>
                <a:gd name="T49" fmla="*/ 20 h 1540"/>
                <a:gd name="T50" fmla="*/ 113 w 308"/>
                <a:gd name="T51" fmla="*/ 5 h 1540"/>
                <a:gd name="T52" fmla="*/ 153 w 308"/>
                <a:gd name="T53" fmla="*/ 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8" h="1540">
                  <a:moveTo>
                    <a:pt x="153" y="0"/>
                  </a:moveTo>
                  <a:lnTo>
                    <a:pt x="194" y="5"/>
                  </a:lnTo>
                  <a:lnTo>
                    <a:pt x="230" y="20"/>
                  </a:lnTo>
                  <a:lnTo>
                    <a:pt x="262" y="45"/>
                  </a:lnTo>
                  <a:lnTo>
                    <a:pt x="285" y="75"/>
                  </a:lnTo>
                  <a:lnTo>
                    <a:pt x="302" y="113"/>
                  </a:lnTo>
                  <a:lnTo>
                    <a:pt x="308" y="154"/>
                  </a:lnTo>
                  <a:lnTo>
                    <a:pt x="308" y="1385"/>
                  </a:lnTo>
                  <a:lnTo>
                    <a:pt x="302" y="1426"/>
                  </a:lnTo>
                  <a:lnTo>
                    <a:pt x="285" y="1462"/>
                  </a:lnTo>
                  <a:lnTo>
                    <a:pt x="262" y="1494"/>
                  </a:lnTo>
                  <a:lnTo>
                    <a:pt x="230" y="1519"/>
                  </a:lnTo>
                  <a:lnTo>
                    <a:pt x="194" y="1534"/>
                  </a:lnTo>
                  <a:lnTo>
                    <a:pt x="153" y="1540"/>
                  </a:lnTo>
                  <a:lnTo>
                    <a:pt x="113" y="1534"/>
                  </a:lnTo>
                  <a:lnTo>
                    <a:pt x="75" y="1519"/>
                  </a:lnTo>
                  <a:lnTo>
                    <a:pt x="45" y="1494"/>
                  </a:lnTo>
                  <a:lnTo>
                    <a:pt x="21" y="1462"/>
                  </a:lnTo>
                  <a:lnTo>
                    <a:pt x="6" y="1426"/>
                  </a:lnTo>
                  <a:lnTo>
                    <a:pt x="0" y="1385"/>
                  </a:lnTo>
                  <a:lnTo>
                    <a:pt x="0" y="154"/>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4" name="Freeform 192">
              <a:extLst>
                <a:ext uri="{FF2B5EF4-FFF2-40B4-BE49-F238E27FC236}">
                  <a16:creationId xmlns:a16="http://schemas.microsoft.com/office/drawing/2014/main" id="{CB09FB84-7D25-4526-AA7A-4EE953D47EA6}"/>
                </a:ext>
              </a:extLst>
            </p:cNvPr>
            <p:cNvSpPr>
              <a:spLocks/>
            </p:cNvSpPr>
            <p:nvPr/>
          </p:nvSpPr>
          <p:spPr bwMode="auto">
            <a:xfrm>
              <a:off x="10633075" y="1344613"/>
              <a:ext cx="936625" cy="936625"/>
            </a:xfrm>
            <a:custGeom>
              <a:avLst/>
              <a:gdLst>
                <a:gd name="T0" fmla="*/ 1044 w 1180"/>
                <a:gd name="T1" fmla="*/ 0 h 1179"/>
                <a:gd name="T2" fmla="*/ 1076 w 1180"/>
                <a:gd name="T3" fmla="*/ 8 h 1179"/>
                <a:gd name="T4" fmla="*/ 1108 w 1180"/>
                <a:gd name="T5" fmla="*/ 23 h 1179"/>
                <a:gd name="T6" fmla="*/ 1134 w 1180"/>
                <a:gd name="T7" fmla="*/ 43 h 1179"/>
                <a:gd name="T8" fmla="*/ 1157 w 1180"/>
                <a:gd name="T9" fmla="*/ 72 h 1179"/>
                <a:gd name="T10" fmla="*/ 1172 w 1180"/>
                <a:gd name="T11" fmla="*/ 104 h 1179"/>
                <a:gd name="T12" fmla="*/ 1180 w 1180"/>
                <a:gd name="T13" fmla="*/ 136 h 1179"/>
                <a:gd name="T14" fmla="*/ 1180 w 1180"/>
                <a:gd name="T15" fmla="*/ 170 h 1179"/>
                <a:gd name="T16" fmla="*/ 1172 w 1180"/>
                <a:gd name="T17" fmla="*/ 202 h 1179"/>
                <a:gd name="T18" fmla="*/ 1157 w 1180"/>
                <a:gd name="T19" fmla="*/ 234 h 1179"/>
                <a:gd name="T20" fmla="*/ 1134 w 1180"/>
                <a:gd name="T21" fmla="*/ 262 h 1179"/>
                <a:gd name="T22" fmla="*/ 262 w 1180"/>
                <a:gd name="T23" fmla="*/ 1134 h 1179"/>
                <a:gd name="T24" fmla="*/ 230 w 1180"/>
                <a:gd name="T25" fmla="*/ 1159 h 1179"/>
                <a:gd name="T26" fmla="*/ 192 w 1180"/>
                <a:gd name="T27" fmla="*/ 1174 h 1179"/>
                <a:gd name="T28" fmla="*/ 153 w 1180"/>
                <a:gd name="T29" fmla="*/ 1179 h 1179"/>
                <a:gd name="T30" fmla="*/ 124 w 1180"/>
                <a:gd name="T31" fmla="*/ 1176 h 1179"/>
                <a:gd name="T32" fmla="*/ 96 w 1180"/>
                <a:gd name="T33" fmla="*/ 1168 h 1179"/>
                <a:gd name="T34" fmla="*/ 70 w 1180"/>
                <a:gd name="T35" fmla="*/ 1153 h 1179"/>
                <a:gd name="T36" fmla="*/ 45 w 1180"/>
                <a:gd name="T37" fmla="*/ 1134 h 1179"/>
                <a:gd name="T38" fmla="*/ 23 w 1180"/>
                <a:gd name="T39" fmla="*/ 1106 h 1179"/>
                <a:gd name="T40" fmla="*/ 7 w 1180"/>
                <a:gd name="T41" fmla="*/ 1076 h 1179"/>
                <a:gd name="T42" fmla="*/ 0 w 1180"/>
                <a:gd name="T43" fmla="*/ 1042 h 1179"/>
                <a:gd name="T44" fmla="*/ 0 w 1180"/>
                <a:gd name="T45" fmla="*/ 1008 h 1179"/>
                <a:gd name="T46" fmla="*/ 7 w 1180"/>
                <a:gd name="T47" fmla="*/ 976 h 1179"/>
                <a:gd name="T48" fmla="*/ 23 w 1180"/>
                <a:gd name="T49" fmla="*/ 944 h 1179"/>
                <a:gd name="T50" fmla="*/ 45 w 1180"/>
                <a:gd name="T51" fmla="*/ 917 h 1179"/>
                <a:gd name="T52" fmla="*/ 917 w 1180"/>
                <a:gd name="T53" fmla="*/ 43 h 1179"/>
                <a:gd name="T54" fmla="*/ 946 w 1180"/>
                <a:gd name="T55" fmla="*/ 23 h 1179"/>
                <a:gd name="T56" fmla="*/ 976 w 1180"/>
                <a:gd name="T57" fmla="*/ 8 h 1179"/>
                <a:gd name="T58" fmla="*/ 1010 w 1180"/>
                <a:gd name="T59" fmla="*/ 0 h 1179"/>
                <a:gd name="T60" fmla="*/ 1044 w 1180"/>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0" h="1179">
                  <a:moveTo>
                    <a:pt x="1044" y="0"/>
                  </a:moveTo>
                  <a:lnTo>
                    <a:pt x="1076" y="8"/>
                  </a:lnTo>
                  <a:lnTo>
                    <a:pt x="1108" y="23"/>
                  </a:lnTo>
                  <a:lnTo>
                    <a:pt x="1134" y="43"/>
                  </a:lnTo>
                  <a:lnTo>
                    <a:pt x="1157" y="72"/>
                  </a:lnTo>
                  <a:lnTo>
                    <a:pt x="1172" y="104"/>
                  </a:lnTo>
                  <a:lnTo>
                    <a:pt x="1180" y="136"/>
                  </a:lnTo>
                  <a:lnTo>
                    <a:pt x="1180" y="170"/>
                  </a:lnTo>
                  <a:lnTo>
                    <a:pt x="1172" y="202"/>
                  </a:lnTo>
                  <a:lnTo>
                    <a:pt x="1157" y="234"/>
                  </a:lnTo>
                  <a:lnTo>
                    <a:pt x="1134" y="262"/>
                  </a:lnTo>
                  <a:lnTo>
                    <a:pt x="262" y="1134"/>
                  </a:lnTo>
                  <a:lnTo>
                    <a:pt x="230" y="1159"/>
                  </a:lnTo>
                  <a:lnTo>
                    <a:pt x="192" y="1174"/>
                  </a:lnTo>
                  <a:lnTo>
                    <a:pt x="153" y="1179"/>
                  </a:lnTo>
                  <a:lnTo>
                    <a:pt x="124" y="1176"/>
                  </a:lnTo>
                  <a:lnTo>
                    <a:pt x="96" y="1168"/>
                  </a:lnTo>
                  <a:lnTo>
                    <a:pt x="70" y="1153"/>
                  </a:lnTo>
                  <a:lnTo>
                    <a:pt x="45" y="1134"/>
                  </a:lnTo>
                  <a:lnTo>
                    <a:pt x="23" y="1106"/>
                  </a:lnTo>
                  <a:lnTo>
                    <a:pt x="7" y="1076"/>
                  </a:lnTo>
                  <a:lnTo>
                    <a:pt x="0" y="1042"/>
                  </a:lnTo>
                  <a:lnTo>
                    <a:pt x="0" y="1008"/>
                  </a:lnTo>
                  <a:lnTo>
                    <a:pt x="7" y="976"/>
                  </a:lnTo>
                  <a:lnTo>
                    <a:pt x="23" y="944"/>
                  </a:lnTo>
                  <a:lnTo>
                    <a:pt x="45" y="917"/>
                  </a:lnTo>
                  <a:lnTo>
                    <a:pt x="917" y="43"/>
                  </a:lnTo>
                  <a:lnTo>
                    <a:pt x="946" y="23"/>
                  </a:lnTo>
                  <a:lnTo>
                    <a:pt x="976" y="8"/>
                  </a:lnTo>
                  <a:lnTo>
                    <a:pt x="1010" y="0"/>
                  </a:lnTo>
                  <a:lnTo>
                    <a:pt x="10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5" name="Freeform 193">
              <a:extLst>
                <a:ext uri="{FF2B5EF4-FFF2-40B4-BE49-F238E27FC236}">
                  <a16:creationId xmlns:a16="http://schemas.microsoft.com/office/drawing/2014/main" id="{42E667FF-C5DD-43F7-BDBD-2EF074F9112B}"/>
                </a:ext>
              </a:extLst>
            </p:cNvPr>
            <p:cNvSpPr>
              <a:spLocks/>
            </p:cNvSpPr>
            <p:nvPr/>
          </p:nvSpPr>
          <p:spPr bwMode="auto">
            <a:xfrm>
              <a:off x="8658225" y="1344613"/>
              <a:ext cx="935038" cy="936625"/>
            </a:xfrm>
            <a:custGeom>
              <a:avLst/>
              <a:gdLst>
                <a:gd name="T0" fmla="*/ 170 w 1178"/>
                <a:gd name="T1" fmla="*/ 0 h 1179"/>
                <a:gd name="T2" fmla="*/ 202 w 1178"/>
                <a:gd name="T3" fmla="*/ 8 h 1179"/>
                <a:gd name="T4" fmla="*/ 234 w 1178"/>
                <a:gd name="T5" fmla="*/ 23 h 1179"/>
                <a:gd name="T6" fmla="*/ 262 w 1178"/>
                <a:gd name="T7" fmla="*/ 43 h 1179"/>
                <a:gd name="T8" fmla="*/ 1134 w 1178"/>
                <a:gd name="T9" fmla="*/ 917 h 1179"/>
                <a:gd name="T10" fmla="*/ 1155 w 1178"/>
                <a:gd name="T11" fmla="*/ 944 h 1179"/>
                <a:gd name="T12" fmla="*/ 1170 w 1178"/>
                <a:gd name="T13" fmla="*/ 976 h 1179"/>
                <a:gd name="T14" fmla="*/ 1178 w 1178"/>
                <a:gd name="T15" fmla="*/ 1008 h 1179"/>
                <a:gd name="T16" fmla="*/ 1178 w 1178"/>
                <a:gd name="T17" fmla="*/ 1042 h 1179"/>
                <a:gd name="T18" fmla="*/ 1170 w 1178"/>
                <a:gd name="T19" fmla="*/ 1076 h 1179"/>
                <a:gd name="T20" fmla="*/ 1155 w 1178"/>
                <a:gd name="T21" fmla="*/ 1106 h 1179"/>
                <a:gd name="T22" fmla="*/ 1134 w 1178"/>
                <a:gd name="T23" fmla="*/ 1134 h 1179"/>
                <a:gd name="T24" fmla="*/ 1100 w 1178"/>
                <a:gd name="T25" fmla="*/ 1159 h 1179"/>
                <a:gd name="T26" fmla="*/ 1065 w 1178"/>
                <a:gd name="T27" fmla="*/ 1174 h 1179"/>
                <a:gd name="T28" fmla="*/ 1025 w 1178"/>
                <a:gd name="T29" fmla="*/ 1179 h 1179"/>
                <a:gd name="T30" fmla="*/ 995 w 1178"/>
                <a:gd name="T31" fmla="*/ 1176 h 1179"/>
                <a:gd name="T32" fmla="*/ 966 w 1178"/>
                <a:gd name="T33" fmla="*/ 1168 h 1179"/>
                <a:gd name="T34" fmla="*/ 940 w 1178"/>
                <a:gd name="T35" fmla="*/ 1153 h 1179"/>
                <a:gd name="T36" fmla="*/ 915 w 1178"/>
                <a:gd name="T37" fmla="*/ 1134 h 1179"/>
                <a:gd name="T38" fmla="*/ 43 w 1178"/>
                <a:gd name="T39" fmla="*/ 262 h 1179"/>
                <a:gd name="T40" fmla="*/ 21 w 1178"/>
                <a:gd name="T41" fmla="*/ 234 h 1179"/>
                <a:gd name="T42" fmla="*/ 7 w 1178"/>
                <a:gd name="T43" fmla="*/ 202 h 1179"/>
                <a:gd name="T44" fmla="*/ 0 w 1178"/>
                <a:gd name="T45" fmla="*/ 170 h 1179"/>
                <a:gd name="T46" fmla="*/ 0 w 1178"/>
                <a:gd name="T47" fmla="*/ 136 h 1179"/>
                <a:gd name="T48" fmla="*/ 7 w 1178"/>
                <a:gd name="T49" fmla="*/ 104 h 1179"/>
                <a:gd name="T50" fmla="*/ 21 w 1178"/>
                <a:gd name="T51" fmla="*/ 72 h 1179"/>
                <a:gd name="T52" fmla="*/ 43 w 1178"/>
                <a:gd name="T53" fmla="*/ 43 h 1179"/>
                <a:gd name="T54" fmla="*/ 72 w 1178"/>
                <a:gd name="T55" fmla="*/ 23 h 1179"/>
                <a:gd name="T56" fmla="*/ 102 w 1178"/>
                <a:gd name="T57" fmla="*/ 8 h 1179"/>
                <a:gd name="T58" fmla="*/ 136 w 1178"/>
                <a:gd name="T59" fmla="*/ 0 h 1179"/>
                <a:gd name="T60" fmla="*/ 170 w 1178"/>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8" h="1179">
                  <a:moveTo>
                    <a:pt x="170" y="0"/>
                  </a:moveTo>
                  <a:lnTo>
                    <a:pt x="202" y="8"/>
                  </a:lnTo>
                  <a:lnTo>
                    <a:pt x="234" y="23"/>
                  </a:lnTo>
                  <a:lnTo>
                    <a:pt x="262" y="43"/>
                  </a:lnTo>
                  <a:lnTo>
                    <a:pt x="1134" y="917"/>
                  </a:lnTo>
                  <a:lnTo>
                    <a:pt x="1155" y="944"/>
                  </a:lnTo>
                  <a:lnTo>
                    <a:pt x="1170" y="976"/>
                  </a:lnTo>
                  <a:lnTo>
                    <a:pt x="1178" y="1008"/>
                  </a:lnTo>
                  <a:lnTo>
                    <a:pt x="1178" y="1042"/>
                  </a:lnTo>
                  <a:lnTo>
                    <a:pt x="1170" y="1076"/>
                  </a:lnTo>
                  <a:lnTo>
                    <a:pt x="1155" y="1106"/>
                  </a:lnTo>
                  <a:lnTo>
                    <a:pt x="1134" y="1134"/>
                  </a:lnTo>
                  <a:lnTo>
                    <a:pt x="1100" y="1159"/>
                  </a:lnTo>
                  <a:lnTo>
                    <a:pt x="1065" y="1174"/>
                  </a:lnTo>
                  <a:lnTo>
                    <a:pt x="1025" y="1179"/>
                  </a:lnTo>
                  <a:lnTo>
                    <a:pt x="995" y="1176"/>
                  </a:lnTo>
                  <a:lnTo>
                    <a:pt x="966" y="1168"/>
                  </a:lnTo>
                  <a:lnTo>
                    <a:pt x="940" y="1153"/>
                  </a:lnTo>
                  <a:lnTo>
                    <a:pt x="915" y="1134"/>
                  </a:lnTo>
                  <a:lnTo>
                    <a:pt x="43" y="262"/>
                  </a:lnTo>
                  <a:lnTo>
                    <a:pt x="21" y="234"/>
                  </a:lnTo>
                  <a:lnTo>
                    <a:pt x="7" y="202"/>
                  </a:lnTo>
                  <a:lnTo>
                    <a:pt x="0" y="170"/>
                  </a:lnTo>
                  <a:lnTo>
                    <a:pt x="0" y="136"/>
                  </a:lnTo>
                  <a:lnTo>
                    <a:pt x="7" y="104"/>
                  </a:lnTo>
                  <a:lnTo>
                    <a:pt x="21" y="72"/>
                  </a:lnTo>
                  <a:lnTo>
                    <a:pt x="43" y="43"/>
                  </a:lnTo>
                  <a:lnTo>
                    <a:pt x="72" y="23"/>
                  </a:lnTo>
                  <a:lnTo>
                    <a:pt x="102" y="8"/>
                  </a:lnTo>
                  <a:lnTo>
                    <a:pt x="136" y="0"/>
                  </a:lnTo>
                  <a:lnTo>
                    <a:pt x="1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6" name="Freeform 194">
              <a:extLst>
                <a:ext uri="{FF2B5EF4-FFF2-40B4-BE49-F238E27FC236}">
                  <a16:creationId xmlns:a16="http://schemas.microsoft.com/office/drawing/2014/main" id="{86B0B06F-D735-474D-8A9A-65BA3747E219}"/>
                </a:ext>
              </a:extLst>
            </p:cNvPr>
            <p:cNvSpPr>
              <a:spLocks noEditPoints="1"/>
            </p:cNvSpPr>
            <p:nvPr/>
          </p:nvSpPr>
          <p:spPr bwMode="auto">
            <a:xfrm>
              <a:off x="8272463" y="2347913"/>
              <a:ext cx="3489325" cy="3368675"/>
            </a:xfrm>
            <a:custGeom>
              <a:avLst/>
              <a:gdLst>
                <a:gd name="T0" fmla="*/ 307 w 4394"/>
                <a:gd name="T1" fmla="*/ 1901 h 4245"/>
                <a:gd name="T2" fmla="*/ 315 w 4394"/>
                <a:gd name="T3" fmla="*/ 3826 h 4245"/>
                <a:gd name="T4" fmla="*/ 912 w 4394"/>
                <a:gd name="T5" fmla="*/ 3816 h 4245"/>
                <a:gd name="T6" fmla="*/ 902 w 4394"/>
                <a:gd name="T7" fmla="*/ 1891 h 4245"/>
                <a:gd name="T8" fmla="*/ 2139 w 4394"/>
                <a:gd name="T9" fmla="*/ 933 h 4245"/>
                <a:gd name="T10" fmla="*/ 2063 w 4394"/>
                <a:gd name="T11" fmla="*/ 1306 h 4245"/>
                <a:gd name="T12" fmla="*/ 1842 w 4394"/>
                <a:gd name="T13" fmla="*/ 1627 h 4245"/>
                <a:gd name="T14" fmla="*/ 1561 w 4394"/>
                <a:gd name="T15" fmla="*/ 1841 h 4245"/>
                <a:gd name="T16" fmla="*/ 1357 w 4394"/>
                <a:gd name="T17" fmla="*/ 1941 h 4245"/>
                <a:gd name="T18" fmla="*/ 1242 w 4394"/>
                <a:gd name="T19" fmla="*/ 1982 h 4245"/>
                <a:gd name="T20" fmla="*/ 1219 w 4394"/>
                <a:gd name="T21" fmla="*/ 1988 h 4245"/>
                <a:gd name="T22" fmla="*/ 1238 w 4394"/>
                <a:gd name="T23" fmla="*/ 3711 h 4245"/>
                <a:gd name="T24" fmla="*/ 1385 w 4394"/>
                <a:gd name="T25" fmla="*/ 3890 h 4245"/>
                <a:gd name="T26" fmla="*/ 3392 w 4394"/>
                <a:gd name="T27" fmla="*/ 3937 h 4245"/>
                <a:gd name="T28" fmla="*/ 3634 w 4394"/>
                <a:gd name="T29" fmla="*/ 3894 h 4245"/>
                <a:gd name="T30" fmla="*/ 3768 w 4394"/>
                <a:gd name="T31" fmla="*/ 3794 h 4245"/>
                <a:gd name="T32" fmla="*/ 3826 w 4394"/>
                <a:gd name="T33" fmla="*/ 3675 h 4245"/>
                <a:gd name="T34" fmla="*/ 3843 w 4394"/>
                <a:gd name="T35" fmla="*/ 3582 h 4245"/>
                <a:gd name="T36" fmla="*/ 4087 w 4394"/>
                <a:gd name="T37" fmla="*/ 2046 h 4245"/>
                <a:gd name="T38" fmla="*/ 4032 w 4394"/>
                <a:gd name="T39" fmla="*/ 1848 h 4245"/>
                <a:gd name="T40" fmla="*/ 3864 w 4394"/>
                <a:gd name="T41" fmla="*/ 1710 h 4245"/>
                <a:gd name="T42" fmla="*/ 2676 w 4394"/>
                <a:gd name="T43" fmla="*/ 1684 h 4245"/>
                <a:gd name="T44" fmla="*/ 2569 w 4394"/>
                <a:gd name="T45" fmla="*/ 1576 h 4245"/>
                <a:gd name="T46" fmla="*/ 2554 w 4394"/>
                <a:gd name="T47" fmla="*/ 610 h 4245"/>
                <a:gd name="T48" fmla="*/ 2463 w 4394"/>
                <a:gd name="T49" fmla="*/ 401 h 4245"/>
                <a:gd name="T50" fmla="*/ 2282 w 4394"/>
                <a:gd name="T51" fmla="*/ 312 h 4245"/>
                <a:gd name="T52" fmla="*/ 2233 w 4394"/>
                <a:gd name="T53" fmla="*/ 0 h 4245"/>
                <a:gd name="T54" fmla="*/ 2484 w 4394"/>
                <a:gd name="T55" fmla="*/ 51 h 4245"/>
                <a:gd name="T56" fmla="*/ 2712 w 4394"/>
                <a:gd name="T57" fmla="*/ 219 h 4245"/>
                <a:gd name="T58" fmla="*/ 2843 w 4394"/>
                <a:gd name="T59" fmla="*/ 493 h 4245"/>
                <a:gd name="T60" fmla="*/ 2871 w 4394"/>
                <a:gd name="T61" fmla="*/ 1384 h 4245"/>
                <a:gd name="T62" fmla="*/ 3971 w 4394"/>
                <a:gd name="T63" fmla="*/ 1423 h 4245"/>
                <a:gd name="T64" fmla="*/ 4221 w 4394"/>
                <a:gd name="T65" fmla="*/ 1591 h 4245"/>
                <a:gd name="T66" fmla="*/ 4366 w 4394"/>
                <a:gd name="T67" fmla="*/ 1848 h 4245"/>
                <a:gd name="T68" fmla="*/ 4387 w 4394"/>
                <a:gd name="T69" fmla="*/ 2148 h 4245"/>
                <a:gd name="T70" fmla="*/ 4075 w 4394"/>
                <a:gd name="T71" fmla="*/ 3873 h 4245"/>
                <a:gd name="T72" fmla="*/ 3864 w 4394"/>
                <a:gd name="T73" fmla="*/ 4117 h 4245"/>
                <a:gd name="T74" fmla="*/ 3567 w 4394"/>
                <a:gd name="T75" fmla="*/ 4230 h 4245"/>
                <a:gd name="T76" fmla="*/ 1470 w 4394"/>
                <a:gd name="T77" fmla="*/ 4237 h 4245"/>
                <a:gd name="T78" fmla="*/ 1168 w 4394"/>
                <a:gd name="T79" fmla="*/ 4113 h 4245"/>
                <a:gd name="T80" fmla="*/ 959 w 4394"/>
                <a:gd name="T81" fmla="*/ 4128 h 4245"/>
                <a:gd name="T82" fmla="*/ 206 w 4394"/>
                <a:gd name="T83" fmla="*/ 4113 h 4245"/>
                <a:gd name="T84" fmla="*/ 43 w 4394"/>
                <a:gd name="T85" fmla="*/ 3975 h 4245"/>
                <a:gd name="T86" fmla="*/ 0 w 4394"/>
                <a:gd name="T87" fmla="*/ 1901 h 4245"/>
                <a:gd name="T88" fmla="*/ 73 w 4394"/>
                <a:gd name="T89" fmla="*/ 1697 h 4245"/>
                <a:gd name="T90" fmla="*/ 258 w 4394"/>
                <a:gd name="T91" fmla="*/ 1590 h 4245"/>
                <a:gd name="T92" fmla="*/ 1008 w 4394"/>
                <a:gd name="T93" fmla="*/ 1603 h 4245"/>
                <a:gd name="T94" fmla="*/ 1153 w 4394"/>
                <a:gd name="T95" fmla="*/ 1686 h 4245"/>
                <a:gd name="T96" fmla="*/ 1255 w 4394"/>
                <a:gd name="T97" fmla="*/ 1648 h 4245"/>
                <a:gd name="T98" fmla="*/ 1451 w 4394"/>
                <a:gd name="T99" fmla="*/ 1544 h 4245"/>
                <a:gd name="T100" fmla="*/ 1704 w 4394"/>
                <a:gd name="T101" fmla="*/ 1318 h 4245"/>
                <a:gd name="T102" fmla="*/ 1827 w 4394"/>
                <a:gd name="T103" fmla="*/ 1016 h 4245"/>
                <a:gd name="T104" fmla="*/ 1852 w 4394"/>
                <a:gd name="T105" fmla="*/ 108 h 4245"/>
                <a:gd name="T106" fmla="*/ 1948 w 4394"/>
                <a:gd name="T107" fmla="*/ 34 h 4245"/>
                <a:gd name="T108" fmla="*/ 2072 w 4394"/>
                <a:gd name="T109" fmla="*/ 8 h 4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94" h="4245">
                  <a:moveTo>
                    <a:pt x="315" y="1891"/>
                  </a:moveTo>
                  <a:lnTo>
                    <a:pt x="311" y="1891"/>
                  </a:lnTo>
                  <a:lnTo>
                    <a:pt x="307" y="1895"/>
                  </a:lnTo>
                  <a:lnTo>
                    <a:pt x="307" y="1901"/>
                  </a:lnTo>
                  <a:lnTo>
                    <a:pt x="307" y="3816"/>
                  </a:lnTo>
                  <a:lnTo>
                    <a:pt x="307" y="3820"/>
                  </a:lnTo>
                  <a:lnTo>
                    <a:pt x="311" y="3824"/>
                  </a:lnTo>
                  <a:lnTo>
                    <a:pt x="315" y="3826"/>
                  </a:lnTo>
                  <a:lnTo>
                    <a:pt x="902" y="3826"/>
                  </a:lnTo>
                  <a:lnTo>
                    <a:pt x="908" y="3824"/>
                  </a:lnTo>
                  <a:lnTo>
                    <a:pt x="910" y="3820"/>
                  </a:lnTo>
                  <a:lnTo>
                    <a:pt x="912" y="3816"/>
                  </a:lnTo>
                  <a:lnTo>
                    <a:pt x="912" y="1901"/>
                  </a:lnTo>
                  <a:lnTo>
                    <a:pt x="910" y="1895"/>
                  </a:lnTo>
                  <a:lnTo>
                    <a:pt x="908" y="1891"/>
                  </a:lnTo>
                  <a:lnTo>
                    <a:pt x="902" y="1891"/>
                  </a:lnTo>
                  <a:lnTo>
                    <a:pt x="315" y="1891"/>
                  </a:lnTo>
                  <a:close/>
                  <a:moveTo>
                    <a:pt x="2184" y="306"/>
                  </a:moveTo>
                  <a:lnTo>
                    <a:pt x="2139" y="310"/>
                  </a:lnTo>
                  <a:lnTo>
                    <a:pt x="2139" y="933"/>
                  </a:lnTo>
                  <a:lnTo>
                    <a:pt x="2135" y="1029"/>
                  </a:lnTo>
                  <a:lnTo>
                    <a:pt x="2120" y="1125"/>
                  </a:lnTo>
                  <a:lnTo>
                    <a:pt x="2097" y="1218"/>
                  </a:lnTo>
                  <a:lnTo>
                    <a:pt x="2063" y="1306"/>
                  </a:lnTo>
                  <a:lnTo>
                    <a:pt x="2021" y="1391"/>
                  </a:lnTo>
                  <a:lnTo>
                    <a:pt x="1970" y="1474"/>
                  </a:lnTo>
                  <a:lnTo>
                    <a:pt x="1910" y="1552"/>
                  </a:lnTo>
                  <a:lnTo>
                    <a:pt x="1842" y="1627"/>
                  </a:lnTo>
                  <a:lnTo>
                    <a:pt x="1763" y="1697"/>
                  </a:lnTo>
                  <a:lnTo>
                    <a:pt x="1678" y="1765"/>
                  </a:lnTo>
                  <a:lnTo>
                    <a:pt x="1619" y="1805"/>
                  </a:lnTo>
                  <a:lnTo>
                    <a:pt x="1561" y="1841"/>
                  </a:lnTo>
                  <a:lnTo>
                    <a:pt x="1504" y="1871"/>
                  </a:lnTo>
                  <a:lnTo>
                    <a:pt x="1451" y="1897"/>
                  </a:lnTo>
                  <a:lnTo>
                    <a:pt x="1402" y="1922"/>
                  </a:lnTo>
                  <a:lnTo>
                    <a:pt x="1357" y="1941"/>
                  </a:lnTo>
                  <a:lnTo>
                    <a:pt x="1317" y="1956"/>
                  </a:lnTo>
                  <a:lnTo>
                    <a:pt x="1283" y="1967"/>
                  </a:lnTo>
                  <a:lnTo>
                    <a:pt x="1259" y="1976"/>
                  </a:lnTo>
                  <a:lnTo>
                    <a:pt x="1242" y="1982"/>
                  </a:lnTo>
                  <a:lnTo>
                    <a:pt x="1234" y="1984"/>
                  </a:lnTo>
                  <a:lnTo>
                    <a:pt x="1231" y="1984"/>
                  </a:lnTo>
                  <a:lnTo>
                    <a:pt x="1229" y="1984"/>
                  </a:lnTo>
                  <a:lnTo>
                    <a:pt x="1219" y="1988"/>
                  </a:lnTo>
                  <a:lnTo>
                    <a:pt x="1219" y="3633"/>
                  </a:lnTo>
                  <a:lnTo>
                    <a:pt x="1221" y="3643"/>
                  </a:lnTo>
                  <a:lnTo>
                    <a:pt x="1223" y="3652"/>
                  </a:lnTo>
                  <a:lnTo>
                    <a:pt x="1238" y="3711"/>
                  </a:lnTo>
                  <a:lnTo>
                    <a:pt x="1263" y="3766"/>
                  </a:lnTo>
                  <a:lnTo>
                    <a:pt x="1297" y="3815"/>
                  </a:lnTo>
                  <a:lnTo>
                    <a:pt x="1338" y="3856"/>
                  </a:lnTo>
                  <a:lnTo>
                    <a:pt x="1385" y="3890"/>
                  </a:lnTo>
                  <a:lnTo>
                    <a:pt x="1438" y="3917"/>
                  </a:lnTo>
                  <a:lnTo>
                    <a:pt x="1495" y="3932"/>
                  </a:lnTo>
                  <a:lnTo>
                    <a:pt x="1555" y="3937"/>
                  </a:lnTo>
                  <a:lnTo>
                    <a:pt x="3392" y="3937"/>
                  </a:lnTo>
                  <a:lnTo>
                    <a:pt x="3464" y="3935"/>
                  </a:lnTo>
                  <a:lnTo>
                    <a:pt x="3528" y="3926"/>
                  </a:lnTo>
                  <a:lnTo>
                    <a:pt x="3584" y="3913"/>
                  </a:lnTo>
                  <a:lnTo>
                    <a:pt x="3634" y="3894"/>
                  </a:lnTo>
                  <a:lnTo>
                    <a:pt x="3675" y="3873"/>
                  </a:lnTo>
                  <a:lnTo>
                    <a:pt x="3711" y="3849"/>
                  </a:lnTo>
                  <a:lnTo>
                    <a:pt x="3743" y="3822"/>
                  </a:lnTo>
                  <a:lnTo>
                    <a:pt x="3768" y="3794"/>
                  </a:lnTo>
                  <a:lnTo>
                    <a:pt x="3788" y="3764"/>
                  </a:lnTo>
                  <a:lnTo>
                    <a:pt x="3803" y="3733"/>
                  </a:lnTo>
                  <a:lnTo>
                    <a:pt x="3817" y="3703"/>
                  </a:lnTo>
                  <a:lnTo>
                    <a:pt x="3826" y="3675"/>
                  </a:lnTo>
                  <a:lnTo>
                    <a:pt x="3834" y="3647"/>
                  </a:lnTo>
                  <a:lnTo>
                    <a:pt x="3839" y="3622"/>
                  </a:lnTo>
                  <a:lnTo>
                    <a:pt x="3841" y="3599"/>
                  </a:lnTo>
                  <a:lnTo>
                    <a:pt x="3843" y="3582"/>
                  </a:lnTo>
                  <a:lnTo>
                    <a:pt x="3845" y="3579"/>
                  </a:lnTo>
                  <a:lnTo>
                    <a:pt x="3845" y="3575"/>
                  </a:lnTo>
                  <a:lnTo>
                    <a:pt x="4083" y="2099"/>
                  </a:lnTo>
                  <a:lnTo>
                    <a:pt x="4087" y="2046"/>
                  </a:lnTo>
                  <a:lnTo>
                    <a:pt x="4083" y="1993"/>
                  </a:lnTo>
                  <a:lnTo>
                    <a:pt x="4073" y="1942"/>
                  </a:lnTo>
                  <a:lnTo>
                    <a:pt x="4056" y="1895"/>
                  </a:lnTo>
                  <a:lnTo>
                    <a:pt x="4032" y="1848"/>
                  </a:lnTo>
                  <a:lnTo>
                    <a:pt x="4002" y="1807"/>
                  </a:lnTo>
                  <a:lnTo>
                    <a:pt x="3966" y="1771"/>
                  </a:lnTo>
                  <a:lnTo>
                    <a:pt x="3917" y="1737"/>
                  </a:lnTo>
                  <a:lnTo>
                    <a:pt x="3864" y="1710"/>
                  </a:lnTo>
                  <a:lnTo>
                    <a:pt x="3809" y="1695"/>
                  </a:lnTo>
                  <a:lnTo>
                    <a:pt x="3752" y="1690"/>
                  </a:lnTo>
                  <a:lnTo>
                    <a:pt x="2718" y="1690"/>
                  </a:lnTo>
                  <a:lnTo>
                    <a:pt x="2676" y="1684"/>
                  </a:lnTo>
                  <a:lnTo>
                    <a:pt x="2641" y="1669"/>
                  </a:lnTo>
                  <a:lnTo>
                    <a:pt x="2609" y="1644"/>
                  </a:lnTo>
                  <a:lnTo>
                    <a:pt x="2586" y="1614"/>
                  </a:lnTo>
                  <a:lnTo>
                    <a:pt x="2569" y="1576"/>
                  </a:lnTo>
                  <a:lnTo>
                    <a:pt x="2565" y="1537"/>
                  </a:lnTo>
                  <a:lnTo>
                    <a:pt x="2565" y="761"/>
                  </a:lnTo>
                  <a:lnTo>
                    <a:pt x="2561" y="682"/>
                  </a:lnTo>
                  <a:lnTo>
                    <a:pt x="2554" y="610"/>
                  </a:lnTo>
                  <a:lnTo>
                    <a:pt x="2539" y="546"/>
                  </a:lnTo>
                  <a:lnTo>
                    <a:pt x="2520" y="489"/>
                  </a:lnTo>
                  <a:lnTo>
                    <a:pt x="2493" y="440"/>
                  </a:lnTo>
                  <a:lnTo>
                    <a:pt x="2463" y="401"/>
                  </a:lnTo>
                  <a:lnTo>
                    <a:pt x="2425" y="367"/>
                  </a:lnTo>
                  <a:lnTo>
                    <a:pt x="2380" y="340"/>
                  </a:lnTo>
                  <a:lnTo>
                    <a:pt x="2333" y="321"/>
                  </a:lnTo>
                  <a:lnTo>
                    <a:pt x="2282" y="312"/>
                  </a:lnTo>
                  <a:lnTo>
                    <a:pt x="2231" y="306"/>
                  </a:lnTo>
                  <a:lnTo>
                    <a:pt x="2184" y="306"/>
                  </a:lnTo>
                  <a:close/>
                  <a:moveTo>
                    <a:pt x="2176" y="0"/>
                  </a:moveTo>
                  <a:lnTo>
                    <a:pt x="2233" y="0"/>
                  </a:lnTo>
                  <a:lnTo>
                    <a:pt x="2295" y="4"/>
                  </a:lnTo>
                  <a:lnTo>
                    <a:pt x="2357" y="14"/>
                  </a:lnTo>
                  <a:lnTo>
                    <a:pt x="2422" y="29"/>
                  </a:lnTo>
                  <a:lnTo>
                    <a:pt x="2484" y="51"/>
                  </a:lnTo>
                  <a:lnTo>
                    <a:pt x="2546" y="82"/>
                  </a:lnTo>
                  <a:lnTo>
                    <a:pt x="2609" y="119"/>
                  </a:lnTo>
                  <a:lnTo>
                    <a:pt x="2663" y="167"/>
                  </a:lnTo>
                  <a:lnTo>
                    <a:pt x="2712" y="219"/>
                  </a:lnTo>
                  <a:lnTo>
                    <a:pt x="2754" y="278"/>
                  </a:lnTo>
                  <a:lnTo>
                    <a:pt x="2790" y="344"/>
                  </a:lnTo>
                  <a:lnTo>
                    <a:pt x="2820" y="416"/>
                  </a:lnTo>
                  <a:lnTo>
                    <a:pt x="2843" y="493"/>
                  </a:lnTo>
                  <a:lnTo>
                    <a:pt x="2858" y="576"/>
                  </a:lnTo>
                  <a:lnTo>
                    <a:pt x="2869" y="667"/>
                  </a:lnTo>
                  <a:lnTo>
                    <a:pt x="2871" y="763"/>
                  </a:lnTo>
                  <a:lnTo>
                    <a:pt x="2871" y="1384"/>
                  </a:lnTo>
                  <a:lnTo>
                    <a:pt x="3752" y="1384"/>
                  </a:lnTo>
                  <a:lnTo>
                    <a:pt x="3826" y="1388"/>
                  </a:lnTo>
                  <a:lnTo>
                    <a:pt x="3900" y="1403"/>
                  </a:lnTo>
                  <a:lnTo>
                    <a:pt x="3971" y="1423"/>
                  </a:lnTo>
                  <a:lnTo>
                    <a:pt x="4039" y="1454"/>
                  </a:lnTo>
                  <a:lnTo>
                    <a:pt x="4105" y="1493"/>
                  </a:lnTo>
                  <a:lnTo>
                    <a:pt x="4166" y="1539"/>
                  </a:lnTo>
                  <a:lnTo>
                    <a:pt x="4221" y="1591"/>
                  </a:lnTo>
                  <a:lnTo>
                    <a:pt x="4268" y="1648"/>
                  </a:lnTo>
                  <a:lnTo>
                    <a:pt x="4307" y="1712"/>
                  </a:lnTo>
                  <a:lnTo>
                    <a:pt x="4341" y="1778"/>
                  </a:lnTo>
                  <a:lnTo>
                    <a:pt x="4366" y="1848"/>
                  </a:lnTo>
                  <a:lnTo>
                    <a:pt x="4383" y="1922"/>
                  </a:lnTo>
                  <a:lnTo>
                    <a:pt x="4392" y="1995"/>
                  </a:lnTo>
                  <a:lnTo>
                    <a:pt x="4394" y="2071"/>
                  </a:lnTo>
                  <a:lnTo>
                    <a:pt x="4387" y="2148"/>
                  </a:lnTo>
                  <a:lnTo>
                    <a:pt x="4149" y="3620"/>
                  </a:lnTo>
                  <a:lnTo>
                    <a:pt x="4132" y="3711"/>
                  </a:lnTo>
                  <a:lnTo>
                    <a:pt x="4107" y="3796"/>
                  </a:lnTo>
                  <a:lnTo>
                    <a:pt x="4075" y="3873"/>
                  </a:lnTo>
                  <a:lnTo>
                    <a:pt x="4034" y="3945"/>
                  </a:lnTo>
                  <a:lnTo>
                    <a:pt x="3985" y="4009"/>
                  </a:lnTo>
                  <a:lnTo>
                    <a:pt x="3928" y="4066"/>
                  </a:lnTo>
                  <a:lnTo>
                    <a:pt x="3864" y="4117"/>
                  </a:lnTo>
                  <a:lnTo>
                    <a:pt x="3798" y="4154"/>
                  </a:lnTo>
                  <a:lnTo>
                    <a:pt x="3726" y="4186"/>
                  </a:lnTo>
                  <a:lnTo>
                    <a:pt x="3651" y="4211"/>
                  </a:lnTo>
                  <a:lnTo>
                    <a:pt x="3567" y="4230"/>
                  </a:lnTo>
                  <a:lnTo>
                    <a:pt x="3483" y="4241"/>
                  </a:lnTo>
                  <a:lnTo>
                    <a:pt x="3392" y="4245"/>
                  </a:lnTo>
                  <a:lnTo>
                    <a:pt x="1555" y="4245"/>
                  </a:lnTo>
                  <a:lnTo>
                    <a:pt x="1470" y="4237"/>
                  </a:lnTo>
                  <a:lnTo>
                    <a:pt x="1389" y="4222"/>
                  </a:lnTo>
                  <a:lnTo>
                    <a:pt x="1310" y="4194"/>
                  </a:lnTo>
                  <a:lnTo>
                    <a:pt x="1236" y="4158"/>
                  </a:lnTo>
                  <a:lnTo>
                    <a:pt x="1168" y="4113"/>
                  </a:lnTo>
                  <a:lnTo>
                    <a:pt x="1106" y="4058"/>
                  </a:lnTo>
                  <a:lnTo>
                    <a:pt x="1061" y="4090"/>
                  </a:lnTo>
                  <a:lnTo>
                    <a:pt x="1012" y="4113"/>
                  </a:lnTo>
                  <a:lnTo>
                    <a:pt x="959" y="4128"/>
                  </a:lnTo>
                  <a:lnTo>
                    <a:pt x="902" y="4132"/>
                  </a:lnTo>
                  <a:lnTo>
                    <a:pt x="315" y="4132"/>
                  </a:lnTo>
                  <a:lnTo>
                    <a:pt x="258" y="4128"/>
                  </a:lnTo>
                  <a:lnTo>
                    <a:pt x="206" y="4113"/>
                  </a:lnTo>
                  <a:lnTo>
                    <a:pt x="156" y="4090"/>
                  </a:lnTo>
                  <a:lnTo>
                    <a:pt x="113" y="4058"/>
                  </a:lnTo>
                  <a:lnTo>
                    <a:pt x="73" y="4020"/>
                  </a:lnTo>
                  <a:lnTo>
                    <a:pt x="43" y="3975"/>
                  </a:lnTo>
                  <a:lnTo>
                    <a:pt x="19" y="3926"/>
                  </a:lnTo>
                  <a:lnTo>
                    <a:pt x="5" y="3873"/>
                  </a:lnTo>
                  <a:lnTo>
                    <a:pt x="0" y="3816"/>
                  </a:lnTo>
                  <a:lnTo>
                    <a:pt x="0" y="1901"/>
                  </a:lnTo>
                  <a:lnTo>
                    <a:pt x="5" y="1844"/>
                  </a:lnTo>
                  <a:lnTo>
                    <a:pt x="19" y="1790"/>
                  </a:lnTo>
                  <a:lnTo>
                    <a:pt x="43" y="1740"/>
                  </a:lnTo>
                  <a:lnTo>
                    <a:pt x="73" y="1697"/>
                  </a:lnTo>
                  <a:lnTo>
                    <a:pt x="113" y="1657"/>
                  </a:lnTo>
                  <a:lnTo>
                    <a:pt x="156" y="1627"/>
                  </a:lnTo>
                  <a:lnTo>
                    <a:pt x="206" y="1603"/>
                  </a:lnTo>
                  <a:lnTo>
                    <a:pt x="258" y="1590"/>
                  </a:lnTo>
                  <a:lnTo>
                    <a:pt x="315" y="1584"/>
                  </a:lnTo>
                  <a:lnTo>
                    <a:pt x="900" y="1584"/>
                  </a:lnTo>
                  <a:lnTo>
                    <a:pt x="955" y="1588"/>
                  </a:lnTo>
                  <a:lnTo>
                    <a:pt x="1008" y="1603"/>
                  </a:lnTo>
                  <a:lnTo>
                    <a:pt x="1057" y="1623"/>
                  </a:lnTo>
                  <a:lnTo>
                    <a:pt x="1100" y="1654"/>
                  </a:lnTo>
                  <a:lnTo>
                    <a:pt x="1136" y="1690"/>
                  </a:lnTo>
                  <a:lnTo>
                    <a:pt x="1153" y="1686"/>
                  </a:lnTo>
                  <a:lnTo>
                    <a:pt x="1164" y="1682"/>
                  </a:lnTo>
                  <a:lnTo>
                    <a:pt x="1187" y="1674"/>
                  </a:lnTo>
                  <a:lnTo>
                    <a:pt x="1217" y="1663"/>
                  </a:lnTo>
                  <a:lnTo>
                    <a:pt x="1255" y="1648"/>
                  </a:lnTo>
                  <a:lnTo>
                    <a:pt x="1298" y="1629"/>
                  </a:lnTo>
                  <a:lnTo>
                    <a:pt x="1346" y="1605"/>
                  </a:lnTo>
                  <a:lnTo>
                    <a:pt x="1399" y="1578"/>
                  </a:lnTo>
                  <a:lnTo>
                    <a:pt x="1451" y="1544"/>
                  </a:lnTo>
                  <a:lnTo>
                    <a:pt x="1506" y="1508"/>
                  </a:lnTo>
                  <a:lnTo>
                    <a:pt x="1582" y="1448"/>
                  </a:lnTo>
                  <a:lnTo>
                    <a:pt x="1648" y="1386"/>
                  </a:lnTo>
                  <a:lnTo>
                    <a:pt x="1704" y="1318"/>
                  </a:lnTo>
                  <a:lnTo>
                    <a:pt x="1750" y="1248"/>
                  </a:lnTo>
                  <a:lnTo>
                    <a:pt x="1786" y="1174"/>
                  </a:lnTo>
                  <a:lnTo>
                    <a:pt x="1810" y="1097"/>
                  </a:lnTo>
                  <a:lnTo>
                    <a:pt x="1827" y="1016"/>
                  </a:lnTo>
                  <a:lnTo>
                    <a:pt x="1831" y="933"/>
                  </a:lnTo>
                  <a:lnTo>
                    <a:pt x="1831" y="182"/>
                  </a:lnTo>
                  <a:lnTo>
                    <a:pt x="1836" y="144"/>
                  </a:lnTo>
                  <a:lnTo>
                    <a:pt x="1852" y="108"/>
                  </a:lnTo>
                  <a:lnTo>
                    <a:pt x="1874" y="78"/>
                  </a:lnTo>
                  <a:lnTo>
                    <a:pt x="1903" y="53"/>
                  </a:lnTo>
                  <a:lnTo>
                    <a:pt x="1938" y="36"/>
                  </a:lnTo>
                  <a:lnTo>
                    <a:pt x="1948" y="34"/>
                  </a:lnTo>
                  <a:lnTo>
                    <a:pt x="1967" y="29"/>
                  </a:lnTo>
                  <a:lnTo>
                    <a:pt x="1995" y="23"/>
                  </a:lnTo>
                  <a:lnTo>
                    <a:pt x="2031" y="16"/>
                  </a:lnTo>
                  <a:lnTo>
                    <a:pt x="2072" y="8"/>
                  </a:lnTo>
                  <a:lnTo>
                    <a:pt x="2122" y="4"/>
                  </a:lnTo>
                  <a:lnTo>
                    <a:pt x="21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pic>
        <p:nvPicPr>
          <p:cNvPr id="459" name="Graphique 458" descr="Dollar">
            <a:extLst>
              <a:ext uri="{FF2B5EF4-FFF2-40B4-BE49-F238E27FC236}">
                <a16:creationId xmlns:a16="http://schemas.microsoft.com/office/drawing/2014/main" id="{F5AEFBC0-47AD-4EC7-A169-0089124A6AB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616380" y="4196316"/>
            <a:ext cx="144000" cy="144000"/>
          </a:xfrm>
          <a:prstGeom prst="rect">
            <a:avLst/>
          </a:prstGeom>
        </p:spPr>
      </p:pic>
      <p:pic>
        <p:nvPicPr>
          <p:cNvPr id="460" name="Graphique 459" descr="Dollar">
            <a:extLst>
              <a:ext uri="{FF2B5EF4-FFF2-40B4-BE49-F238E27FC236}">
                <a16:creationId xmlns:a16="http://schemas.microsoft.com/office/drawing/2014/main" id="{87FB3745-1AEF-4BCE-BEFA-7F91E2FA97F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81000" y="4196316"/>
            <a:ext cx="144000" cy="144000"/>
          </a:xfrm>
          <a:prstGeom prst="rect">
            <a:avLst/>
          </a:prstGeom>
        </p:spPr>
      </p:pic>
    </p:spTree>
    <p:extLst>
      <p:ext uri="{BB962C8B-B14F-4D97-AF65-F5344CB8AC3E}">
        <p14:creationId xmlns:p14="http://schemas.microsoft.com/office/powerpoint/2010/main" val="2125039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8"/>
                                        </p:tgtEl>
                                        <p:attrNameLst>
                                          <p:attrName>style.visibility</p:attrName>
                                        </p:attrNameLst>
                                      </p:cBhvr>
                                      <p:to>
                                        <p:strVal val="visible"/>
                                      </p:to>
                                    </p:set>
                                    <p:animEffect transition="in" filter="fade">
                                      <p:cBhvr>
                                        <p:cTn id="7" dur="1000"/>
                                        <p:tgtEl>
                                          <p:spTgt spid="4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fade">
                                      <p:cBhvr>
                                        <p:cTn id="10" dur="500"/>
                                        <p:tgtEl>
                                          <p:spTgt spid="201"/>
                                        </p:tgtEl>
                                      </p:cBhvr>
                                    </p:animEffect>
                                  </p:childTnLst>
                                </p:cTn>
                              </p:par>
                            </p:childTnLst>
                          </p:cTn>
                        </p:par>
                        <p:par>
                          <p:cTn id="11" fill="hold">
                            <p:stCondLst>
                              <p:cond delay="1000"/>
                            </p:stCondLst>
                            <p:childTnLst>
                              <p:par>
                                <p:cTn id="12" presetID="10" presetClass="entr" presetSubtype="0" fill="hold" nodeType="afterEffect">
                                  <p:stCondLst>
                                    <p:cond delay="500"/>
                                  </p:stCondLst>
                                  <p:childTnLst>
                                    <p:set>
                                      <p:cBhvr>
                                        <p:cTn id="13" dur="1" fill="hold">
                                          <p:stCondLst>
                                            <p:cond delay="0"/>
                                          </p:stCondLst>
                                        </p:cTn>
                                        <p:tgtEl>
                                          <p:spTgt spid="292"/>
                                        </p:tgtEl>
                                        <p:attrNameLst>
                                          <p:attrName>style.visibility</p:attrName>
                                        </p:attrNameLst>
                                      </p:cBhvr>
                                      <p:to>
                                        <p:strVal val="visible"/>
                                      </p:to>
                                    </p:set>
                                    <p:animEffect transition="in" filter="fade">
                                      <p:cBhvr>
                                        <p:cTn id="14" dur="500"/>
                                        <p:tgtEl>
                                          <p:spTgt spid="292"/>
                                        </p:tgtEl>
                                      </p:cBhvr>
                                    </p:animEffect>
                                  </p:childTnLst>
                                </p:cTn>
                              </p:par>
                              <p:par>
                                <p:cTn id="15" presetID="10" presetClass="entr" presetSubtype="0" fill="hold" nodeType="withEffect">
                                  <p:stCondLst>
                                    <p:cond delay="50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par>
                                <p:cTn id="18" presetID="10" presetClass="entr" presetSubtype="0" fill="hold" nodeType="withEffect">
                                  <p:stCondLst>
                                    <p:cond delay="500"/>
                                  </p:stCondLst>
                                  <p:childTnLst>
                                    <p:set>
                                      <p:cBhvr>
                                        <p:cTn id="19" dur="1" fill="hold">
                                          <p:stCondLst>
                                            <p:cond delay="0"/>
                                          </p:stCondLst>
                                        </p:cTn>
                                        <p:tgtEl>
                                          <p:spTgt spid="291"/>
                                        </p:tgtEl>
                                        <p:attrNameLst>
                                          <p:attrName>style.visibility</p:attrName>
                                        </p:attrNameLst>
                                      </p:cBhvr>
                                      <p:to>
                                        <p:strVal val="visible"/>
                                      </p:to>
                                    </p:set>
                                    <p:animEffect transition="in" filter="fade">
                                      <p:cBhvr>
                                        <p:cTn id="20" dur="500"/>
                                        <p:tgtEl>
                                          <p:spTgt spid="291"/>
                                        </p:tgtEl>
                                      </p:cBhvr>
                                    </p:animEffect>
                                  </p:childTnLst>
                                </p:cTn>
                              </p:par>
                              <p:par>
                                <p:cTn id="21" presetID="10" presetClass="entr" presetSubtype="0" fill="hold" nodeType="withEffect">
                                  <p:stCondLst>
                                    <p:cond delay="500"/>
                                  </p:stCondLst>
                                  <p:childTnLst>
                                    <p:set>
                                      <p:cBhvr>
                                        <p:cTn id="22" dur="1" fill="hold">
                                          <p:stCondLst>
                                            <p:cond delay="0"/>
                                          </p:stCondLst>
                                        </p:cTn>
                                        <p:tgtEl>
                                          <p:spTgt spid="123"/>
                                        </p:tgtEl>
                                        <p:attrNameLst>
                                          <p:attrName>style.visibility</p:attrName>
                                        </p:attrNameLst>
                                      </p:cBhvr>
                                      <p:to>
                                        <p:strVal val="visible"/>
                                      </p:to>
                                    </p:set>
                                    <p:animEffect transition="in" filter="fade">
                                      <p:cBhvr>
                                        <p:cTn id="23" dur="500"/>
                                        <p:tgtEl>
                                          <p:spTgt spid="123"/>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303"/>
                                        </p:tgtEl>
                                        <p:attrNameLst>
                                          <p:attrName>style.visibility</p:attrName>
                                        </p:attrNameLst>
                                      </p:cBhvr>
                                      <p:to>
                                        <p:strVal val="visible"/>
                                      </p:to>
                                    </p:set>
                                    <p:animEffect transition="in" filter="fade">
                                      <p:cBhvr>
                                        <p:cTn id="26" dur="500"/>
                                        <p:tgtEl>
                                          <p:spTgt spid="303"/>
                                        </p:tgtEl>
                                      </p:cBhvr>
                                    </p:animEffect>
                                  </p:childTnLst>
                                </p:cTn>
                              </p:par>
                            </p:childTnLst>
                          </p:cTn>
                        </p:par>
                        <p:par>
                          <p:cTn id="27" fill="hold">
                            <p:stCondLst>
                              <p:cond delay="2000"/>
                            </p:stCondLst>
                            <p:childTnLst>
                              <p:par>
                                <p:cTn id="28" presetID="10" presetClass="entr" presetSubtype="0" fill="hold" grpId="0" nodeType="afterEffect">
                                  <p:stCondLst>
                                    <p:cond delay="0"/>
                                  </p:stCondLst>
                                  <p:childTnLst>
                                    <p:set>
                                      <p:cBhvr>
                                        <p:cTn id="29" dur="1" fill="hold">
                                          <p:stCondLst>
                                            <p:cond delay="0"/>
                                          </p:stCondLst>
                                        </p:cTn>
                                        <p:tgtEl>
                                          <p:spTgt spid="355"/>
                                        </p:tgtEl>
                                        <p:attrNameLst>
                                          <p:attrName>style.visibility</p:attrName>
                                        </p:attrNameLst>
                                      </p:cBhvr>
                                      <p:to>
                                        <p:strVal val="visible"/>
                                      </p:to>
                                    </p:set>
                                    <p:animEffect transition="in" filter="fade">
                                      <p:cBhvr>
                                        <p:cTn id="30" dur="500"/>
                                        <p:tgtEl>
                                          <p:spTgt spid="355"/>
                                        </p:tgtEl>
                                      </p:cBhvr>
                                    </p:animEffect>
                                  </p:childTnLst>
                                </p:cTn>
                              </p:par>
                              <p:par>
                                <p:cTn id="31" presetID="10" presetClass="entr" presetSubtype="0" fill="hold" nodeType="withEffect">
                                  <p:stCondLst>
                                    <p:cond delay="0"/>
                                  </p:stCondLst>
                                  <p:childTnLst>
                                    <p:set>
                                      <p:cBhvr>
                                        <p:cTn id="32" dur="1" fill="hold">
                                          <p:stCondLst>
                                            <p:cond delay="0"/>
                                          </p:stCondLst>
                                        </p:cTn>
                                        <p:tgtEl>
                                          <p:spTgt spid="197"/>
                                        </p:tgtEl>
                                        <p:attrNameLst>
                                          <p:attrName>style.visibility</p:attrName>
                                        </p:attrNameLst>
                                      </p:cBhvr>
                                      <p:to>
                                        <p:strVal val="visible"/>
                                      </p:to>
                                    </p:set>
                                    <p:animEffect transition="in" filter="fade">
                                      <p:cBhvr>
                                        <p:cTn id="33" dur="500"/>
                                        <p:tgtEl>
                                          <p:spTgt spid="197"/>
                                        </p:tgtEl>
                                      </p:cBhvr>
                                    </p:animEffect>
                                  </p:childTnLst>
                                </p:cTn>
                              </p:par>
                            </p:childTnLst>
                          </p:cTn>
                        </p:par>
                        <p:par>
                          <p:cTn id="34" fill="hold">
                            <p:stCondLst>
                              <p:cond delay="2500"/>
                            </p:stCondLst>
                            <p:childTnLst>
                              <p:par>
                                <p:cTn id="35" presetID="10" presetClass="entr" presetSubtype="0" fill="hold" nodeType="afterEffect">
                                  <p:stCondLst>
                                    <p:cond delay="500"/>
                                  </p:stCondLst>
                                  <p:childTnLst>
                                    <p:set>
                                      <p:cBhvr>
                                        <p:cTn id="36" dur="1" fill="hold">
                                          <p:stCondLst>
                                            <p:cond delay="0"/>
                                          </p:stCondLst>
                                        </p:cTn>
                                        <p:tgtEl>
                                          <p:spTgt spid="195"/>
                                        </p:tgtEl>
                                        <p:attrNameLst>
                                          <p:attrName>style.visibility</p:attrName>
                                        </p:attrNameLst>
                                      </p:cBhvr>
                                      <p:to>
                                        <p:strVal val="visible"/>
                                      </p:to>
                                    </p:set>
                                    <p:animEffect transition="in" filter="fade">
                                      <p:cBhvr>
                                        <p:cTn id="37" dur="500"/>
                                        <p:tgtEl>
                                          <p:spTgt spid="195"/>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03"/>
                                        </p:tgtEl>
                                        <p:attrNameLst>
                                          <p:attrName>style.visibility</p:attrName>
                                        </p:attrNameLst>
                                      </p:cBhvr>
                                      <p:to>
                                        <p:strVal val="visible"/>
                                      </p:to>
                                    </p:set>
                                    <p:animEffect transition="in" filter="fade">
                                      <p:cBhvr>
                                        <p:cTn id="41" dur="500"/>
                                        <p:tgtEl>
                                          <p:spTgt spid="203"/>
                                        </p:tgtEl>
                                      </p:cBhvr>
                                    </p:animEffect>
                                  </p:childTnLst>
                                </p:cTn>
                              </p:par>
                            </p:childTnLst>
                          </p:cTn>
                        </p:par>
                        <p:par>
                          <p:cTn id="42" fill="hold">
                            <p:stCondLst>
                              <p:cond delay="4000"/>
                            </p:stCondLst>
                            <p:childTnLst>
                              <p:par>
                                <p:cTn id="43" presetID="10" presetClass="entr" presetSubtype="0" fill="hold" nodeType="afterEffect">
                                  <p:stCondLst>
                                    <p:cond delay="0"/>
                                  </p:stCondLst>
                                  <p:childTnLst>
                                    <p:set>
                                      <p:cBhvr>
                                        <p:cTn id="44" dur="1" fill="hold">
                                          <p:stCondLst>
                                            <p:cond delay="0"/>
                                          </p:stCondLst>
                                        </p:cTn>
                                        <p:tgtEl>
                                          <p:spTgt spid="297"/>
                                        </p:tgtEl>
                                        <p:attrNameLst>
                                          <p:attrName>style.visibility</p:attrName>
                                        </p:attrNameLst>
                                      </p:cBhvr>
                                      <p:to>
                                        <p:strVal val="visible"/>
                                      </p:to>
                                    </p:set>
                                    <p:animEffect transition="in" filter="fade">
                                      <p:cBhvr>
                                        <p:cTn id="45" dur="500"/>
                                        <p:tgtEl>
                                          <p:spTgt spid="297"/>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5"/>
                                        </p:tgtEl>
                                        <p:attrNameLst>
                                          <p:attrName>style.visibility</p:attrName>
                                        </p:attrNameLst>
                                      </p:cBhvr>
                                      <p:to>
                                        <p:strVal val="visible"/>
                                      </p:to>
                                    </p:set>
                                    <p:animEffect transition="in" filter="fade">
                                      <p:cBhvr>
                                        <p:cTn id="48" dur="500"/>
                                        <p:tgtEl>
                                          <p:spTgt spid="21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56"/>
                                        </p:tgtEl>
                                        <p:attrNameLst>
                                          <p:attrName>style.visibility</p:attrName>
                                        </p:attrNameLst>
                                      </p:cBhvr>
                                      <p:to>
                                        <p:strVal val="visible"/>
                                      </p:to>
                                    </p:set>
                                    <p:animEffect transition="in" filter="fade">
                                      <p:cBhvr>
                                        <p:cTn id="53" dur="500"/>
                                        <p:tgtEl>
                                          <p:spTgt spid="35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98"/>
                                        </p:tgtEl>
                                        <p:attrNameLst>
                                          <p:attrName>style.visibility</p:attrName>
                                        </p:attrNameLst>
                                      </p:cBhvr>
                                      <p:to>
                                        <p:strVal val="visible"/>
                                      </p:to>
                                    </p:set>
                                    <p:animEffect transition="in" filter="fade">
                                      <p:cBhvr>
                                        <p:cTn id="56" dur="500"/>
                                        <p:tgtEl>
                                          <p:spTgt spid="198"/>
                                        </p:tgtEl>
                                      </p:cBhvr>
                                    </p:animEffect>
                                  </p:childTnLst>
                                </p:cTn>
                              </p:par>
                            </p:childTnLst>
                          </p:cTn>
                        </p:par>
                        <p:par>
                          <p:cTn id="57" fill="hold">
                            <p:stCondLst>
                              <p:cond delay="500"/>
                            </p:stCondLst>
                            <p:childTnLst>
                              <p:par>
                                <p:cTn id="58" presetID="10" presetClass="entr" presetSubtype="0" fill="hold" nodeType="afterEffect">
                                  <p:stCondLst>
                                    <p:cond delay="0"/>
                                  </p:stCondLst>
                                  <p:childTnLst>
                                    <p:set>
                                      <p:cBhvr>
                                        <p:cTn id="59" dur="1" fill="hold">
                                          <p:stCondLst>
                                            <p:cond delay="0"/>
                                          </p:stCondLst>
                                        </p:cTn>
                                        <p:tgtEl>
                                          <p:spTgt spid="191"/>
                                        </p:tgtEl>
                                        <p:attrNameLst>
                                          <p:attrName>style.visibility</p:attrName>
                                        </p:attrNameLst>
                                      </p:cBhvr>
                                      <p:to>
                                        <p:strVal val="visible"/>
                                      </p:to>
                                    </p:set>
                                    <p:animEffect transition="in" filter="fade">
                                      <p:cBhvr>
                                        <p:cTn id="60" dur="500"/>
                                        <p:tgtEl>
                                          <p:spTgt spid="191"/>
                                        </p:tgtEl>
                                      </p:cBhvr>
                                    </p:animEffect>
                                  </p:childTnLst>
                                </p:cTn>
                              </p:par>
                            </p:childTnLst>
                          </p:cTn>
                        </p:par>
                        <p:par>
                          <p:cTn id="61" fill="hold">
                            <p:stCondLst>
                              <p:cond delay="1000"/>
                            </p:stCondLst>
                            <p:childTnLst>
                              <p:par>
                                <p:cTn id="62" presetID="10" presetClass="entr" presetSubtype="0" fill="hold" grpId="0" nodeType="afterEffect">
                                  <p:stCondLst>
                                    <p:cond delay="0"/>
                                  </p:stCondLst>
                                  <p:childTnLst>
                                    <p:set>
                                      <p:cBhvr>
                                        <p:cTn id="63" dur="1" fill="hold">
                                          <p:stCondLst>
                                            <p:cond delay="0"/>
                                          </p:stCondLst>
                                        </p:cTn>
                                        <p:tgtEl>
                                          <p:spTgt spid="216"/>
                                        </p:tgtEl>
                                        <p:attrNameLst>
                                          <p:attrName>style.visibility</p:attrName>
                                        </p:attrNameLst>
                                      </p:cBhvr>
                                      <p:to>
                                        <p:strVal val="visible"/>
                                      </p:to>
                                    </p:set>
                                    <p:animEffect transition="in" filter="fade">
                                      <p:cBhvr>
                                        <p:cTn id="64" dur="500"/>
                                        <p:tgtEl>
                                          <p:spTgt spid="216"/>
                                        </p:tgtEl>
                                      </p:cBhvr>
                                    </p:animEffect>
                                  </p:childTnLst>
                                </p:cTn>
                              </p:par>
                            </p:childTnLst>
                          </p:cTn>
                        </p:par>
                        <p:par>
                          <p:cTn id="65" fill="hold">
                            <p:stCondLst>
                              <p:cond delay="1500"/>
                            </p:stCondLst>
                            <p:childTnLst>
                              <p:par>
                                <p:cTn id="66" presetID="10" presetClass="entr" presetSubtype="0" fill="hold" nodeType="afterEffect">
                                  <p:stCondLst>
                                    <p:cond delay="0"/>
                                  </p:stCondLst>
                                  <p:childTnLst>
                                    <p:set>
                                      <p:cBhvr>
                                        <p:cTn id="67" dur="1" fill="hold">
                                          <p:stCondLst>
                                            <p:cond delay="0"/>
                                          </p:stCondLst>
                                        </p:cTn>
                                        <p:tgtEl>
                                          <p:spTgt spid="233"/>
                                        </p:tgtEl>
                                        <p:attrNameLst>
                                          <p:attrName>style.visibility</p:attrName>
                                        </p:attrNameLst>
                                      </p:cBhvr>
                                      <p:to>
                                        <p:strVal val="visible"/>
                                      </p:to>
                                    </p:set>
                                    <p:animEffect transition="in" filter="fade">
                                      <p:cBhvr>
                                        <p:cTn id="68" dur="500"/>
                                        <p:tgtEl>
                                          <p:spTgt spid="233"/>
                                        </p:tgtEl>
                                      </p:cBhvr>
                                    </p:animEffect>
                                  </p:childTnLst>
                                </p:cTn>
                              </p:par>
                              <p:par>
                                <p:cTn id="69" presetID="10" presetClass="entr" presetSubtype="0" fill="hold" nodeType="withEffect">
                                  <p:stCondLst>
                                    <p:cond delay="0"/>
                                  </p:stCondLst>
                                  <p:childTnLst>
                                    <p:set>
                                      <p:cBhvr>
                                        <p:cTn id="70" dur="1" fill="hold">
                                          <p:stCondLst>
                                            <p:cond delay="0"/>
                                          </p:stCondLst>
                                        </p:cTn>
                                        <p:tgtEl>
                                          <p:spTgt spid="459"/>
                                        </p:tgtEl>
                                        <p:attrNameLst>
                                          <p:attrName>style.visibility</p:attrName>
                                        </p:attrNameLst>
                                      </p:cBhvr>
                                      <p:to>
                                        <p:strVal val="visible"/>
                                      </p:to>
                                    </p:set>
                                    <p:animEffect transition="in" filter="fade">
                                      <p:cBhvr>
                                        <p:cTn id="71" dur="500"/>
                                        <p:tgtEl>
                                          <p:spTgt spid="459"/>
                                        </p:tgtEl>
                                      </p:cBhvr>
                                    </p:animEffect>
                                  </p:childTnLst>
                                </p:cTn>
                              </p:par>
                            </p:childTnLst>
                          </p:cTn>
                        </p:par>
                        <p:par>
                          <p:cTn id="72" fill="hold">
                            <p:stCondLst>
                              <p:cond delay="2000"/>
                            </p:stCondLst>
                            <p:childTnLst>
                              <p:par>
                                <p:cTn id="73" presetID="10" presetClass="entr" presetSubtype="0" fill="hold" nodeType="afterEffect">
                                  <p:stCondLst>
                                    <p:cond delay="0"/>
                                  </p:stCondLst>
                                  <p:childTnLst>
                                    <p:set>
                                      <p:cBhvr>
                                        <p:cTn id="74" dur="1" fill="hold">
                                          <p:stCondLst>
                                            <p:cond delay="0"/>
                                          </p:stCondLst>
                                        </p:cTn>
                                        <p:tgtEl>
                                          <p:spTgt spid="237"/>
                                        </p:tgtEl>
                                        <p:attrNameLst>
                                          <p:attrName>style.visibility</p:attrName>
                                        </p:attrNameLst>
                                      </p:cBhvr>
                                      <p:to>
                                        <p:strVal val="visible"/>
                                      </p:to>
                                    </p:set>
                                    <p:animEffect transition="in" filter="fade">
                                      <p:cBhvr>
                                        <p:cTn id="75" dur="500"/>
                                        <p:tgtEl>
                                          <p:spTgt spid="237"/>
                                        </p:tgtEl>
                                      </p:cBhvr>
                                    </p:animEffect>
                                  </p:childTnLst>
                                </p:cTn>
                              </p:par>
                            </p:childTnLst>
                          </p:cTn>
                        </p:par>
                        <p:par>
                          <p:cTn id="76" fill="hold">
                            <p:stCondLst>
                              <p:cond delay="2500"/>
                            </p:stCondLst>
                            <p:childTnLst>
                              <p:par>
                                <p:cTn id="77" presetID="10" presetClass="entr" presetSubtype="0" fill="hold" grpId="0" nodeType="afterEffect">
                                  <p:stCondLst>
                                    <p:cond delay="0"/>
                                  </p:stCondLst>
                                  <p:childTnLst>
                                    <p:set>
                                      <p:cBhvr>
                                        <p:cTn id="78" dur="1" fill="hold">
                                          <p:stCondLst>
                                            <p:cond delay="0"/>
                                          </p:stCondLst>
                                        </p:cTn>
                                        <p:tgtEl>
                                          <p:spTgt spid="290"/>
                                        </p:tgtEl>
                                        <p:attrNameLst>
                                          <p:attrName>style.visibility</p:attrName>
                                        </p:attrNameLst>
                                      </p:cBhvr>
                                      <p:to>
                                        <p:strVal val="visible"/>
                                      </p:to>
                                    </p:set>
                                    <p:animEffect transition="in" filter="fade">
                                      <p:cBhvr>
                                        <p:cTn id="79" dur="500"/>
                                        <p:tgtEl>
                                          <p:spTgt spid="290"/>
                                        </p:tgtEl>
                                      </p:cBhvr>
                                    </p:animEffect>
                                  </p:childTnLst>
                                </p:cTn>
                              </p:par>
                            </p:childTnLst>
                          </p:cTn>
                        </p:par>
                      </p:childTnLst>
                    </p:cTn>
                  </p:par>
                  <p:par>
                    <p:cTn id="80" fill="hold">
                      <p:stCondLst>
                        <p:cond delay="indefinite"/>
                      </p:stCondLst>
                      <p:childTnLst>
                        <p:par>
                          <p:cTn id="81" fill="hold">
                            <p:stCondLst>
                              <p:cond delay="0"/>
                            </p:stCondLst>
                            <p:childTnLst>
                              <p:par>
                                <p:cTn id="82" presetID="47" presetClass="entr" presetSubtype="0" fill="hold" nodeType="clickEffect">
                                  <p:stCondLst>
                                    <p:cond delay="0"/>
                                  </p:stCondLst>
                                  <p:childTnLst>
                                    <p:set>
                                      <p:cBhvr>
                                        <p:cTn id="83" dur="1" fill="hold">
                                          <p:stCondLst>
                                            <p:cond delay="0"/>
                                          </p:stCondLst>
                                        </p:cTn>
                                        <p:tgtEl>
                                          <p:spTgt spid="443"/>
                                        </p:tgtEl>
                                        <p:attrNameLst>
                                          <p:attrName>style.visibility</p:attrName>
                                        </p:attrNameLst>
                                      </p:cBhvr>
                                      <p:to>
                                        <p:strVal val="visible"/>
                                      </p:to>
                                    </p:set>
                                    <p:animEffect transition="in" filter="fade">
                                      <p:cBhvr>
                                        <p:cTn id="84" dur="1000"/>
                                        <p:tgtEl>
                                          <p:spTgt spid="443"/>
                                        </p:tgtEl>
                                      </p:cBhvr>
                                    </p:animEffect>
                                    <p:anim calcmode="lin" valueType="num">
                                      <p:cBhvr>
                                        <p:cTn id="85" dur="1000" fill="hold"/>
                                        <p:tgtEl>
                                          <p:spTgt spid="443"/>
                                        </p:tgtEl>
                                        <p:attrNameLst>
                                          <p:attrName>ppt_x</p:attrName>
                                        </p:attrNameLst>
                                      </p:cBhvr>
                                      <p:tavLst>
                                        <p:tav tm="0">
                                          <p:val>
                                            <p:strVal val="#ppt_x"/>
                                          </p:val>
                                        </p:tav>
                                        <p:tav tm="100000">
                                          <p:val>
                                            <p:strVal val="#ppt_x"/>
                                          </p:val>
                                        </p:tav>
                                      </p:tavLst>
                                    </p:anim>
                                    <p:anim calcmode="lin" valueType="num">
                                      <p:cBhvr>
                                        <p:cTn id="86" dur="1000" fill="hold"/>
                                        <p:tgtEl>
                                          <p:spTgt spid="443"/>
                                        </p:tgtEl>
                                        <p:attrNameLst>
                                          <p:attrName>ppt_y</p:attrName>
                                        </p:attrNameLst>
                                      </p:cBhvr>
                                      <p:tavLst>
                                        <p:tav tm="0">
                                          <p:val>
                                            <p:strVal val="#ppt_y-.1"/>
                                          </p:val>
                                        </p:tav>
                                        <p:tav tm="100000">
                                          <p:val>
                                            <p:strVal val="#ppt_y"/>
                                          </p:val>
                                        </p:tav>
                                      </p:tavLst>
                                    </p:anim>
                                  </p:childTnLst>
                                </p:cTn>
                              </p:par>
                              <p:par>
                                <p:cTn id="87" presetID="47" presetClass="entr" presetSubtype="0" fill="hold" grpId="0" nodeType="withEffect">
                                  <p:stCondLst>
                                    <p:cond delay="0"/>
                                  </p:stCondLst>
                                  <p:childTnLst>
                                    <p:set>
                                      <p:cBhvr>
                                        <p:cTn id="88" dur="1" fill="hold">
                                          <p:stCondLst>
                                            <p:cond delay="0"/>
                                          </p:stCondLst>
                                        </p:cTn>
                                        <p:tgtEl>
                                          <p:spTgt spid="202"/>
                                        </p:tgtEl>
                                        <p:attrNameLst>
                                          <p:attrName>style.visibility</p:attrName>
                                        </p:attrNameLst>
                                      </p:cBhvr>
                                      <p:to>
                                        <p:strVal val="visible"/>
                                      </p:to>
                                    </p:set>
                                    <p:animEffect transition="in" filter="fade">
                                      <p:cBhvr>
                                        <p:cTn id="89" dur="1000"/>
                                        <p:tgtEl>
                                          <p:spTgt spid="202"/>
                                        </p:tgtEl>
                                      </p:cBhvr>
                                    </p:animEffect>
                                    <p:anim calcmode="lin" valueType="num">
                                      <p:cBhvr>
                                        <p:cTn id="90" dur="1000" fill="hold"/>
                                        <p:tgtEl>
                                          <p:spTgt spid="202"/>
                                        </p:tgtEl>
                                        <p:attrNameLst>
                                          <p:attrName>ppt_x</p:attrName>
                                        </p:attrNameLst>
                                      </p:cBhvr>
                                      <p:tavLst>
                                        <p:tav tm="0">
                                          <p:val>
                                            <p:strVal val="#ppt_x"/>
                                          </p:val>
                                        </p:tav>
                                        <p:tav tm="100000">
                                          <p:val>
                                            <p:strVal val="#ppt_x"/>
                                          </p:val>
                                        </p:tav>
                                      </p:tavLst>
                                    </p:anim>
                                    <p:anim calcmode="lin" valueType="num">
                                      <p:cBhvr>
                                        <p:cTn id="91" dur="1000" fill="hold"/>
                                        <p:tgtEl>
                                          <p:spTgt spid="202"/>
                                        </p:tgtEl>
                                        <p:attrNameLst>
                                          <p:attrName>ppt_y</p:attrName>
                                        </p:attrNameLst>
                                      </p:cBhvr>
                                      <p:tavLst>
                                        <p:tav tm="0">
                                          <p:val>
                                            <p:strVal val="#ppt_y-.1"/>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433"/>
                                        </p:tgtEl>
                                        <p:attrNameLst>
                                          <p:attrName>style.visibility</p:attrName>
                                        </p:attrNameLst>
                                      </p:cBhvr>
                                      <p:to>
                                        <p:strVal val="visible"/>
                                      </p:to>
                                    </p:set>
                                    <p:animEffect transition="in" filter="fade">
                                      <p:cBhvr>
                                        <p:cTn id="96" dur="1000"/>
                                        <p:tgtEl>
                                          <p:spTgt spid="433"/>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422"/>
                                        </p:tgtEl>
                                        <p:attrNameLst>
                                          <p:attrName>style.visibility</p:attrName>
                                        </p:attrNameLst>
                                      </p:cBhvr>
                                      <p:to>
                                        <p:strVal val="visible"/>
                                      </p:to>
                                    </p:set>
                                    <p:animEffect transition="in" filter="fade">
                                      <p:cBhvr>
                                        <p:cTn id="99" dur="500"/>
                                        <p:tgtEl>
                                          <p:spTgt spid="422"/>
                                        </p:tgtEl>
                                      </p:cBhvr>
                                    </p:animEffect>
                                  </p:childTnLst>
                                </p:cTn>
                              </p:par>
                            </p:childTnLst>
                          </p:cTn>
                        </p:par>
                        <p:par>
                          <p:cTn id="100" fill="hold">
                            <p:stCondLst>
                              <p:cond delay="1000"/>
                            </p:stCondLst>
                            <p:childTnLst>
                              <p:par>
                                <p:cTn id="101" presetID="10" presetClass="entr" presetSubtype="0" fill="hold" nodeType="afterEffect">
                                  <p:stCondLst>
                                    <p:cond delay="500"/>
                                  </p:stCondLst>
                                  <p:childTnLst>
                                    <p:set>
                                      <p:cBhvr>
                                        <p:cTn id="102" dur="1" fill="hold">
                                          <p:stCondLst>
                                            <p:cond delay="0"/>
                                          </p:stCondLst>
                                        </p:cTn>
                                        <p:tgtEl>
                                          <p:spTgt spid="408"/>
                                        </p:tgtEl>
                                        <p:attrNameLst>
                                          <p:attrName>style.visibility</p:attrName>
                                        </p:attrNameLst>
                                      </p:cBhvr>
                                      <p:to>
                                        <p:strVal val="visible"/>
                                      </p:to>
                                    </p:set>
                                    <p:animEffect transition="in" filter="fade">
                                      <p:cBhvr>
                                        <p:cTn id="103" dur="500"/>
                                        <p:tgtEl>
                                          <p:spTgt spid="408"/>
                                        </p:tgtEl>
                                      </p:cBhvr>
                                    </p:animEffect>
                                  </p:childTnLst>
                                </p:cTn>
                              </p:par>
                              <p:par>
                                <p:cTn id="104" presetID="10" presetClass="entr" presetSubtype="0" fill="hold" nodeType="withEffect">
                                  <p:stCondLst>
                                    <p:cond delay="500"/>
                                  </p:stCondLst>
                                  <p:childTnLst>
                                    <p:set>
                                      <p:cBhvr>
                                        <p:cTn id="105" dur="1" fill="hold">
                                          <p:stCondLst>
                                            <p:cond delay="0"/>
                                          </p:stCondLst>
                                        </p:cTn>
                                        <p:tgtEl>
                                          <p:spTgt spid="358"/>
                                        </p:tgtEl>
                                        <p:attrNameLst>
                                          <p:attrName>style.visibility</p:attrName>
                                        </p:attrNameLst>
                                      </p:cBhvr>
                                      <p:to>
                                        <p:strVal val="visible"/>
                                      </p:to>
                                    </p:set>
                                    <p:animEffect transition="in" filter="fade">
                                      <p:cBhvr>
                                        <p:cTn id="106" dur="500"/>
                                        <p:tgtEl>
                                          <p:spTgt spid="358"/>
                                        </p:tgtEl>
                                      </p:cBhvr>
                                    </p:animEffect>
                                  </p:childTnLst>
                                </p:cTn>
                              </p:par>
                              <p:par>
                                <p:cTn id="107" presetID="10" presetClass="entr" presetSubtype="0" fill="hold" nodeType="withEffect">
                                  <p:stCondLst>
                                    <p:cond delay="500"/>
                                  </p:stCondLst>
                                  <p:childTnLst>
                                    <p:set>
                                      <p:cBhvr>
                                        <p:cTn id="108" dur="1" fill="hold">
                                          <p:stCondLst>
                                            <p:cond delay="0"/>
                                          </p:stCondLst>
                                        </p:cTn>
                                        <p:tgtEl>
                                          <p:spTgt spid="407"/>
                                        </p:tgtEl>
                                        <p:attrNameLst>
                                          <p:attrName>style.visibility</p:attrName>
                                        </p:attrNameLst>
                                      </p:cBhvr>
                                      <p:to>
                                        <p:strVal val="visible"/>
                                      </p:to>
                                    </p:set>
                                    <p:animEffect transition="in" filter="fade">
                                      <p:cBhvr>
                                        <p:cTn id="109" dur="500"/>
                                        <p:tgtEl>
                                          <p:spTgt spid="407"/>
                                        </p:tgtEl>
                                      </p:cBhvr>
                                    </p:animEffect>
                                  </p:childTnLst>
                                </p:cTn>
                              </p:par>
                              <p:par>
                                <p:cTn id="110" presetID="10" presetClass="entr" presetSubtype="0" fill="hold" nodeType="withEffect">
                                  <p:stCondLst>
                                    <p:cond delay="500"/>
                                  </p:stCondLst>
                                  <p:childTnLst>
                                    <p:set>
                                      <p:cBhvr>
                                        <p:cTn id="111" dur="1" fill="hold">
                                          <p:stCondLst>
                                            <p:cond delay="0"/>
                                          </p:stCondLst>
                                        </p:cTn>
                                        <p:tgtEl>
                                          <p:spTgt spid="363"/>
                                        </p:tgtEl>
                                        <p:attrNameLst>
                                          <p:attrName>style.visibility</p:attrName>
                                        </p:attrNameLst>
                                      </p:cBhvr>
                                      <p:to>
                                        <p:strVal val="visible"/>
                                      </p:to>
                                    </p:set>
                                    <p:animEffect transition="in" filter="fade">
                                      <p:cBhvr>
                                        <p:cTn id="112" dur="500"/>
                                        <p:tgtEl>
                                          <p:spTgt spid="363"/>
                                        </p:tgtEl>
                                      </p:cBhvr>
                                    </p:animEffect>
                                  </p:childTnLst>
                                </p:cTn>
                              </p:par>
                              <p:par>
                                <p:cTn id="113" presetID="10" presetClass="entr" presetSubtype="0" fill="hold" grpId="0" nodeType="withEffect">
                                  <p:stCondLst>
                                    <p:cond delay="500"/>
                                  </p:stCondLst>
                                  <p:childTnLst>
                                    <p:set>
                                      <p:cBhvr>
                                        <p:cTn id="114" dur="1" fill="hold">
                                          <p:stCondLst>
                                            <p:cond delay="0"/>
                                          </p:stCondLst>
                                        </p:cTn>
                                        <p:tgtEl>
                                          <p:spTgt spid="413"/>
                                        </p:tgtEl>
                                        <p:attrNameLst>
                                          <p:attrName>style.visibility</p:attrName>
                                        </p:attrNameLst>
                                      </p:cBhvr>
                                      <p:to>
                                        <p:strVal val="visible"/>
                                      </p:to>
                                    </p:set>
                                    <p:animEffect transition="in" filter="fade">
                                      <p:cBhvr>
                                        <p:cTn id="115" dur="500"/>
                                        <p:tgtEl>
                                          <p:spTgt spid="413"/>
                                        </p:tgtEl>
                                      </p:cBhvr>
                                    </p:animEffect>
                                  </p:childTnLst>
                                </p:cTn>
                              </p:par>
                            </p:childTnLst>
                          </p:cTn>
                        </p:par>
                        <p:par>
                          <p:cTn id="116" fill="hold">
                            <p:stCondLst>
                              <p:cond delay="2000"/>
                            </p:stCondLst>
                            <p:childTnLst>
                              <p:par>
                                <p:cTn id="117" presetID="10" presetClass="entr" presetSubtype="0" fill="hold" grpId="0" nodeType="afterEffect">
                                  <p:stCondLst>
                                    <p:cond delay="0"/>
                                  </p:stCondLst>
                                  <p:childTnLst>
                                    <p:set>
                                      <p:cBhvr>
                                        <p:cTn id="118" dur="1" fill="hold">
                                          <p:stCondLst>
                                            <p:cond delay="0"/>
                                          </p:stCondLst>
                                        </p:cTn>
                                        <p:tgtEl>
                                          <p:spTgt spid="414"/>
                                        </p:tgtEl>
                                        <p:attrNameLst>
                                          <p:attrName>style.visibility</p:attrName>
                                        </p:attrNameLst>
                                      </p:cBhvr>
                                      <p:to>
                                        <p:strVal val="visible"/>
                                      </p:to>
                                    </p:set>
                                    <p:animEffect transition="in" filter="fade">
                                      <p:cBhvr>
                                        <p:cTn id="119" dur="500"/>
                                        <p:tgtEl>
                                          <p:spTgt spid="414"/>
                                        </p:tgtEl>
                                      </p:cBhvr>
                                    </p:animEffect>
                                  </p:childTnLst>
                                </p:cTn>
                              </p:par>
                              <p:par>
                                <p:cTn id="120" presetID="10" presetClass="entr" presetSubtype="0" fill="hold" nodeType="withEffect">
                                  <p:stCondLst>
                                    <p:cond delay="0"/>
                                  </p:stCondLst>
                                  <p:childTnLst>
                                    <p:set>
                                      <p:cBhvr>
                                        <p:cTn id="121" dur="1" fill="hold">
                                          <p:stCondLst>
                                            <p:cond delay="0"/>
                                          </p:stCondLst>
                                        </p:cTn>
                                        <p:tgtEl>
                                          <p:spTgt spid="397"/>
                                        </p:tgtEl>
                                        <p:attrNameLst>
                                          <p:attrName>style.visibility</p:attrName>
                                        </p:attrNameLst>
                                      </p:cBhvr>
                                      <p:to>
                                        <p:strVal val="visible"/>
                                      </p:to>
                                    </p:set>
                                    <p:animEffect transition="in" filter="fade">
                                      <p:cBhvr>
                                        <p:cTn id="122" dur="500"/>
                                        <p:tgtEl>
                                          <p:spTgt spid="397"/>
                                        </p:tgtEl>
                                      </p:cBhvr>
                                    </p:animEffect>
                                  </p:childTnLst>
                                </p:cTn>
                              </p:par>
                            </p:childTnLst>
                          </p:cTn>
                        </p:par>
                        <p:par>
                          <p:cTn id="123" fill="hold">
                            <p:stCondLst>
                              <p:cond delay="2500"/>
                            </p:stCondLst>
                            <p:childTnLst>
                              <p:par>
                                <p:cTn id="124" presetID="10" presetClass="entr" presetSubtype="0" fill="hold" nodeType="afterEffect">
                                  <p:stCondLst>
                                    <p:cond delay="500"/>
                                  </p:stCondLst>
                                  <p:childTnLst>
                                    <p:set>
                                      <p:cBhvr>
                                        <p:cTn id="125" dur="1" fill="hold">
                                          <p:stCondLst>
                                            <p:cond delay="0"/>
                                          </p:stCondLst>
                                        </p:cTn>
                                        <p:tgtEl>
                                          <p:spTgt spid="396"/>
                                        </p:tgtEl>
                                        <p:attrNameLst>
                                          <p:attrName>style.visibility</p:attrName>
                                        </p:attrNameLst>
                                      </p:cBhvr>
                                      <p:to>
                                        <p:strVal val="visible"/>
                                      </p:to>
                                    </p:set>
                                    <p:animEffect transition="in" filter="fade">
                                      <p:cBhvr>
                                        <p:cTn id="126" dur="500"/>
                                        <p:tgtEl>
                                          <p:spTgt spid="396"/>
                                        </p:tgtEl>
                                      </p:cBhvr>
                                    </p:animEffect>
                                  </p:childTnLst>
                                </p:cTn>
                              </p:par>
                            </p:childTnLst>
                          </p:cTn>
                        </p:par>
                        <p:par>
                          <p:cTn id="127" fill="hold">
                            <p:stCondLst>
                              <p:cond delay="3500"/>
                            </p:stCondLst>
                            <p:childTnLst>
                              <p:par>
                                <p:cTn id="128" presetID="10" presetClass="entr" presetSubtype="0" fill="hold" grpId="0" nodeType="afterEffect">
                                  <p:stCondLst>
                                    <p:cond delay="0"/>
                                  </p:stCondLst>
                                  <p:childTnLst>
                                    <p:set>
                                      <p:cBhvr>
                                        <p:cTn id="129" dur="1" fill="hold">
                                          <p:stCondLst>
                                            <p:cond delay="0"/>
                                          </p:stCondLst>
                                        </p:cTn>
                                        <p:tgtEl>
                                          <p:spTgt spid="416"/>
                                        </p:tgtEl>
                                        <p:attrNameLst>
                                          <p:attrName>style.visibility</p:attrName>
                                        </p:attrNameLst>
                                      </p:cBhvr>
                                      <p:to>
                                        <p:strVal val="visible"/>
                                      </p:to>
                                    </p:set>
                                    <p:animEffect transition="in" filter="fade">
                                      <p:cBhvr>
                                        <p:cTn id="130" dur="500"/>
                                        <p:tgtEl>
                                          <p:spTgt spid="416"/>
                                        </p:tgtEl>
                                      </p:cBhvr>
                                    </p:animEffect>
                                  </p:childTnLst>
                                </p:cTn>
                              </p:par>
                            </p:childTnLst>
                          </p:cTn>
                        </p:par>
                        <p:par>
                          <p:cTn id="131" fill="hold">
                            <p:stCondLst>
                              <p:cond delay="4000"/>
                            </p:stCondLst>
                            <p:childTnLst>
                              <p:par>
                                <p:cTn id="132" presetID="10" presetClass="entr" presetSubtype="0" fill="hold" nodeType="afterEffect">
                                  <p:stCondLst>
                                    <p:cond delay="0"/>
                                  </p:stCondLst>
                                  <p:childTnLst>
                                    <p:set>
                                      <p:cBhvr>
                                        <p:cTn id="133" dur="1" fill="hold">
                                          <p:stCondLst>
                                            <p:cond delay="0"/>
                                          </p:stCondLst>
                                        </p:cTn>
                                        <p:tgtEl>
                                          <p:spTgt spid="409"/>
                                        </p:tgtEl>
                                        <p:attrNameLst>
                                          <p:attrName>style.visibility</p:attrName>
                                        </p:attrNameLst>
                                      </p:cBhvr>
                                      <p:to>
                                        <p:strVal val="visible"/>
                                      </p:to>
                                    </p:set>
                                    <p:animEffect transition="in" filter="fade">
                                      <p:cBhvr>
                                        <p:cTn id="134" dur="500"/>
                                        <p:tgtEl>
                                          <p:spTgt spid="409"/>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400"/>
                                        </p:tgtEl>
                                        <p:attrNameLst>
                                          <p:attrName>style.visibility</p:attrName>
                                        </p:attrNameLst>
                                      </p:cBhvr>
                                      <p:to>
                                        <p:strVal val="visible"/>
                                      </p:to>
                                    </p:set>
                                    <p:animEffect transition="in" filter="fade">
                                      <p:cBhvr>
                                        <p:cTn id="137" dur="500"/>
                                        <p:tgtEl>
                                          <p:spTgt spid="400"/>
                                        </p:tgtEl>
                                      </p:cBhvr>
                                    </p:animEffect>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grpId="0" nodeType="clickEffect">
                                  <p:stCondLst>
                                    <p:cond delay="0"/>
                                  </p:stCondLst>
                                  <p:childTnLst>
                                    <p:set>
                                      <p:cBhvr>
                                        <p:cTn id="141" dur="1" fill="hold">
                                          <p:stCondLst>
                                            <p:cond delay="0"/>
                                          </p:stCondLst>
                                        </p:cTn>
                                        <p:tgtEl>
                                          <p:spTgt spid="415"/>
                                        </p:tgtEl>
                                        <p:attrNameLst>
                                          <p:attrName>style.visibility</p:attrName>
                                        </p:attrNameLst>
                                      </p:cBhvr>
                                      <p:to>
                                        <p:strVal val="visible"/>
                                      </p:to>
                                    </p:set>
                                    <p:animEffect transition="in" filter="fade">
                                      <p:cBhvr>
                                        <p:cTn id="142" dur="500"/>
                                        <p:tgtEl>
                                          <p:spTgt spid="415"/>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398"/>
                                        </p:tgtEl>
                                        <p:attrNameLst>
                                          <p:attrName>style.visibility</p:attrName>
                                        </p:attrNameLst>
                                      </p:cBhvr>
                                      <p:to>
                                        <p:strVal val="visible"/>
                                      </p:to>
                                    </p:set>
                                    <p:animEffect transition="in" filter="fade">
                                      <p:cBhvr>
                                        <p:cTn id="145" dur="500"/>
                                        <p:tgtEl>
                                          <p:spTgt spid="398"/>
                                        </p:tgtEl>
                                      </p:cBhvr>
                                    </p:animEffect>
                                  </p:childTnLst>
                                </p:cTn>
                              </p:par>
                            </p:childTnLst>
                          </p:cTn>
                        </p:par>
                        <p:par>
                          <p:cTn id="146" fill="hold">
                            <p:stCondLst>
                              <p:cond delay="500"/>
                            </p:stCondLst>
                            <p:childTnLst>
                              <p:par>
                                <p:cTn id="147" presetID="10" presetClass="entr" presetSubtype="0" fill="hold" nodeType="afterEffect">
                                  <p:stCondLst>
                                    <p:cond delay="0"/>
                                  </p:stCondLst>
                                  <p:childTnLst>
                                    <p:set>
                                      <p:cBhvr>
                                        <p:cTn id="148" dur="1" fill="hold">
                                          <p:stCondLst>
                                            <p:cond delay="0"/>
                                          </p:stCondLst>
                                        </p:cTn>
                                        <p:tgtEl>
                                          <p:spTgt spid="357"/>
                                        </p:tgtEl>
                                        <p:attrNameLst>
                                          <p:attrName>style.visibility</p:attrName>
                                        </p:attrNameLst>
                                      </p:cBhvr>
                                      <p:to>
                                        <p:strVal val="visible"/>
                                      </p:to>
                                    </p:set>
                                    <p:animEffect transition="in" filter="fade">
                                      <p:cBhvr>
                                        <p:cTn id="149" dur="500"/>
                                        <p:tgtEl>
                                          <p:spTgt spid="357"/>
                                        </p:tgtEl>
                                      </p:cBhvr>
                                    </p:animEffect>
                                  </p:childTnLst>
                                </p:cTn>
                              </p:par>
                            </p:childTnLst>
                          </p:cTn>
                        </p:par>
                        <p:par>
                          <p:cTn id="150" fill="hold">
                            <p:stCondLst>
                              <p:cond delay="1000"/>
                            </p:stCondLst>
                            <p:childTnLst>
                              <p:par>
                                <p:cTn id="151" presetID="10" presetClass="entr" presetSubtype="0" fill="hold" grpId="0" nodeType="afterEffect">
                                  <p:stCondLst>
                                    <p:cond delay="0"/>
                                  </p:stCondLst>
                                  <p:childTnLst>
                                    <p:set>
                                      <p:cBhvr>
                                        <p:cTn id="152" dur="1" fill="hold">
                                          <p:stCondLst>
                                            <p:cond delay="0"/>
                                          </p:stCondLst>
                                        </p:cTn>
                                        <p:tgtEl>
                                          <p:spTgt spid="401"/>
                                        </p:tgtEl>
                                        <p:attrNameLst>
                                          <p:attrName>style.visibility</p:attrName>
                                        </p:attrNameLst>
                                      </p:cBhvr>
                                      <p:to>
                                        <p:strVal val="visible"/>
                                      </p:to>
                                    </p:set>
                                    <p:animEffect transition="in" filter="fade">
                                      <p:cBhvr>
                                        <p:cTn id="153" dur="500"/>
                                        <p:tgtEl>
                                          <p:spTgt spid="401"/>
                                        </p:tgtEl>
                                      </p:cBhvr>
                                    </p:animEffect>
                                  </p:childTnLst>
                                </p:cTn>
                              </p:par>
                            </p:childTnLst>
                          </p:cTn>
                        </p:par>
                        <p:par>
                          <p:cTn id="154" fill="hold">
                            <p:stCondLst>
                              <p:cond delay="1500"/>
                            </p:stCondLst>
                            <p:childTnLst>
                              <p:par>
                                <p:cTn id="155" presetID="10" presetClass="entr" presetSubtype="0" fill="hold" nodeType="afterEffect">
                                  <p:stCondLst>
                                    <p:cond delay="0"/>
                                  </p:stCondLst>
                                  <p:childTnLst>
                                    <p:set>
                                      <p:cBhvr>
                                        <p:cTn id="156" dur="1" fill="hold">
                                          <p:stCondLst>
                                            <p:cond delay="0"/>
                                          </p:stCondLst>
                                        </p:cTn>
                                        <p:tgtEl>
                                          <p:spTgt spid="402"/>
                                        </p:tgtEl>
                                        <p:attrNameLst>
                                          <p:attrName>style.visibility</p:attrName>
                                        </p:attrNameLst>
                                      </p:cBhvr>
                                      <p:to>
                                        <p:strVal val="visible"/>
                                      </p:to>
                                    </p:set>
                                    <p:animEffect transition="in" filter="fade">
                                      <p:cBhvr>
                                        <p:cTn id="157" dur="500"/>
                                        <p:tgtEl>
                                          <p:spTgt spid="402"/>
                                        </p:tgtEl>
                                      </p:cBhvr>
                                    </p:animEffect>
                                  </p:childTnLst>
                                </p:cTn>
                              </p:par>
                              <p:par>
                                <p:cTn id="158" presetID="10" presetClass="entr" presetSubtype="0" fill="hold" nodeType="withEffect">
                                  <p:stCondLst>
                                    <p:cond delay="0"/>
                                  </p:stCondLst>
                                  <p:childTnLst>
                                    <p:set>
                                      <p:cBhvr>
                                        <p:cTn id="159" dur="1" fill="hold">
                                          <p:stCondLst>
                                            <p:cond delay="0"/>
                                          </p:stCondLst>
                                        </p:cTn>
                                        <p:tgtEl>
                                          <p:spTgt spid="460"/>
                                        </p:tgtEl>
                                        <p:attrNameLst>
                                          <p:attrName>style.visibility</p:attrName>
                                        </p:attrNameLst>
                                      </p:cBhvr>
                                      <p:to>
                                        <p:strVal val="visible"/>
                                      </p:to>
                                    </p:set>
                                    <p:animEffect transition="in" filter="fade">
                                      <p:cBhvr>
                                        <p:cTn id="160" dur="500"/>
                                        <p:tgtEl>
                                          <p:spTgt spid="460"/>
                                        </p:tgtEl>
                                      </p:cBhvr>
                                    </p:animEffect>
                                  </p:childTnLst>
                                </p:cTn>
                              </p:par>
                            </p:childTnLst>
                          </p:cTn>
                        </p:par>
                        <p:par>
                          <p:cTn id="161" fill="hold">
                            <p:stCondLst>
                              <p:cond delay="2000"/>
                            </p:stCondLst>
                            <p:childTnLst>
                              <p:par>
                                <p:cTn id="162" presetID="10" presetClass="entr" presetSubtype="0" fill="hold" nodeType="afterEffect">
                                  <p:stCondLst>
                                    <p:cond delay="0"/>
                                  </p:stCondLst>
                                  <p:childTnLst>
                                    <p:set>
                                      <p:cBhvr>
                                        <p:cTn id="163" dur="1" fill="hold">
                                          <p:stCondLst>
                                            <p:cond delay="0"/>
                                          </p:stCondLst>
                                        </p:cTn>
                                        <p:tgtEl>
                                          <p:spTgt spid="405"/>
                                        </p:tgtEl>
                                        <p:attrNameLst>
                                          <p:attrName>style.visibility</p:attrName>
                                        </p:attrNameLst>
                                      </p:cBhvr>
                                      <p:to>
                                        <p:strVal val="visible"/>
                                      </p:to>
                                    </p:set>
                                    <p:animEffect transition="in" filter="fade">
                                      <p:cBhvr>
                                        <p:cTn id="164" dur="500"/>
                                        <p:tgtEl>
                                          <p:spTgt spid="405"/>
                                        </p:tgtEl>
                                      </p:cBhvr>
                                    </p:animEffect>
                                  </p:childTnLst>
                                </p:cTn>
                              </p:par>
                            </p:childTnLst>
                          </p:cTn>
                        </p:par>
                        <p:par>
                          <p:cTn id="165" fill="hold">
                            <p:stCondLst>
                              <p:cond delay="2500"/>
                            </p:stCondLst>
                            <p:childTnLst>
                              <p:par>
                                <p:cTn id="166" presetID="10" presetClass="entr" presetSubtype="0" fill="hold" grpId="0" nodeType="afterEffect">
                                  <p:stCondLst>
                                    <p:cond delay="0"/>
                                  </p:stCondLst>
                                  <p:childTnLst>
                                    <p:set>
                                      <p:cBhvr>
                                        <p:cTn id="167" dur="1" fill="hold">
                                          <p:stCondLst>
                                            <p:cond delay="0"/>
                                          </p:stCondLst>
                                        </p:cTn>
                                        <p:tgtEl>
                                          <p:spTgt spid="406"/>
                                        </p:tgtEl>
                                        <p:attrNameLst>
                                          <p:attrName>style.visibility</p:attrName>
                                        </p:attrNameLst>
                                      </p:cBhvr>
                                      <p:to>
                                        <p:strVal val="visible"/>
                                      </p:to>
                                    </p:set>
                                    <p:animEffect transition="in" filter="fade">
                                      <p:cBhvr>
                                        <p:cTn id="168" dur="500"/>
                                        <p:tgtEl>
                                          <p:spTgt spid="406"/>
                                        </p:tgtEl>
                                      </p:cBhvr>
                                    </p:animEffect>
                                  </p:childTnLst>
                                </p:cTn>
                              </p:par>
                            </p:childTnLst>
                          </p:cTn>
                        </p:par>
                      </p:childTnLst>
                    </p:cTn>
                  </p:par>
                  <p:par>
                    <p:cTn id="169" fill="hold">
                      <p:stCondLst>
                        <p:cond delay="indefinite"/>
                      </p:stCondLst>
                      <p:childTnLst>
                        <p:par>
                          <p:cTn id="170" fill="hold">
                            <p:stCondLst>
                              <p:cond delay="0"/>
                            </p:stCondLst>
                            <p:childTnLst>
                              <p:par>
                                <p:cTn id="171" presetID="47" presetClass="entr" presetSubtype="0" fill="hold" nodeType="clickEffect">
                                  <p:stCondLst>
                                    <p:cond delay="0"/>
                                  </p:stCondLst>
                                  <p:childTnLst>
                                    <p:set>
                                      <p:cBhvr>
                                        <p:cTn id="172" dur="1" fill="hold">
                                          <p:stCondLst>
                                            <p:cond delay="0"/>
                                          </p:stCondLst>
                                        </p:cTn>
                                        <p:tgtEl>
                                          <p:spTgt spid="450"/>
                                        </p:tgtEl>
                                        <p:attrNameLst>
                                          <p:attrName>style.visibility</p:attrName>
                                        </p:attrNameLst>
                                      </p:cBhvr>
                                      <p:to>
                                        <p:strVal val="visible"/>
                                      </p:to>
                                    </p:set>
                                    <p:animEffect transition="in" filter="fade">
                                      <p:cBhvr>
                                        <p:cTn id="173" dur="1000"/>
                                        <p:tgtEl>
                                          <p:spTgt spid="450"/>
                                        </p:tgtEl>
                                      </p:cBhvr>
                                    </p:animEffect>
                                    <p:anim calcmode="lin" valueType="num">
                                      <p:cBhvr>
                                        <p:cTn id="174" dur="1000" fill="hold"/>
                                        <p:tgtEl>
                                          <p:spTgt spid="450"/>
                                        </p:tgtEl>
                                        <p:attrNameLst>
                                          <p:attrName>ppt_x</p:attrName>
                                        </p:attrNameLst>
                                      </p:cBhvr>
                                      <p:tavLst>
                                        <p:tav tm="0">
                                          <p:val>
                                            <p:strVal val="#ppt_x"/>
                                          </p:val>
                                        </p:tav>
                                        <p:tav tm="100000">
                                          <p:val>
                                            <p:strVal val="#ppt_x"/>
                                          </p:val>
                                        </p:tav>
                                      </p:tavLst>
                                    </p:anim>
                                    <p:anim calcmode="lin" valueType="num">
                                      <p:cBhvr>
                                        <p:cTn id="175" dur="1000" fill="hold"/>
                                        <p:tgtEl>
                                          <p:spTgt spid="450"/>
                                        </p:tgtEl>
                                        <p:attrNameLst>
                                          <p:attrName>ppt_y</p:attrName>
                                        </p:attrNameLst>
                                      </p:cBhvr>
                                      <p:tavLst>
                                        <p:tav tm="0">
                                          <p:val>
                                            <p:strVal val="#ppt_y-.1"/>
                                          </p:val>
                                        </p:tav>
                                        <p:tav tm="100000">
                                          <p:val>
                                            <p:strVal val="#ppt_y"/>
                                          </p:val>
                                        </p:tav>
                                      </p:tavLst>
                                    </p:anim>
                                  </p:childTnLst>
                                </p:cTn>
                              </p:par>
                              <p:par>
                                <p:cTn id="176" presetID="47" presetClass="entr" presetSubtype="0" fill="hold" grpId="0" nodeType="withEffect">
                                  <p:stCondLst>
                                    <p:cond delay="0"/>
                                  </p:stCondLst>
                                  <p:childTnLst>
                                    <p:set>
                                      <p:cBhvr>
                                        <p:cTn id="177" dur="1" fill="hold">
                                          <p:stCondLst>
                                            <p:cond delay="0"/>
                                          </p:stCondLst>
                                        </p:cTn>
                                        <p:tgtEl>
                                          <p:spTgt spid="296"/>
                                        </p:tgtEl>
                                        <p:attrNameLst>
                                          <p:attrName>style.visibility</p:attrName>
                                        </p:attrNameLst>
                                      </p:cBhvr>
                                      <p:to>
                                        <p:strVal val="visible"/>
                                      </p:to>
                                    </p:set>
                                    <p:animEffect transition="in" filter="fade">
                                      <p:cBhvr>
                                        <p:cTn id="178" dur="1000"/>
                                        <p:tgtEl>
                                          <p:spTgt spid="296"/>
                                        </p:tgtEl>
                                      </p:cBhvr>
                                    </p:animEffect>
                                    <p:anim calcmode="lin" valueType="num">
                                      <p:cBhvr>
                                        <p:cTn id="179" dur="1000" fill="hold"/>
                                        <p:tgtEl>
                                          <p:spTgt spid="296"/>
                                        </p:tgtEl>
                                        <p:attrNameLst>
                                          <p:attrName>ppt_x</p:attrName>
                                        </p:attrNameLst>
                                      </p:cBhvr>
                                      <p:tavLst>
                                        <p:tav tm="0">
                                          <p:val>
                                            <p:strVal val="#ppt_x"/>
                                          </p:val>
                                        </p:tav>
                                        <p:tav tm="100000">
                                          <p:val>
                                            <p:strVal val="#ppt_x"/>
                                          </p:val>
                                        </p:tav>
                                      </p:tavLst>
                                    </p:anim>
                                    <p:anim calcmode="lin" valueType="num">
                                      <p:cBhvr>
                                        <p:cTn id="180" dur="1000" fill="hold"/>
                                        <p:tgtEl>
                                          <p:spTgt spid="29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 grpId="0"/>
      <p:bldP spid="198" grpId="0" animBg="1"/>
      <p:bldP spid="201" grpId="0"/>
      <p:bldP spid="202" grpId="0"/>
      <p:bldP spid="203" grpId="0" animBg="1"/>
      <p:bldP spid="215" grpId="0"/>
      <p:bldP spid="216" grpId="0" animBg="1"/>
      <p:bldP spid="290" grpId="0"/>
      <p:bldP spid="303" grpId="0"/>
      <p:bldP spid="355" grpId="0" animBg="1"/>
      <p:bldP spid="356" grpId="0" animBg="1"/>
      <p:bldP spid="398" grpId="0" animBg="1"/>
      <p:bldP spid="400" grpId="0"/>
      <p:bldP spid="401" grpId="0" animBg="1"/>
      <p:bldP spid="406" grpId="0"/>
      <p:bldP spid="413" grpId="0"/>
      <p:bldP spid="414" grpId="0" animBg="1"/>
      <p:bldP spid="415" grpId="0" animBg="1"/>
      <p:bldP spid="416" grpId="0"/>
      <p:bldP spid="42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78C923-45ED-4A37-A5DB-2613F018855F}"/>
              </a:ext>
            </a:extLst>
          </p:cNvPr>
          <p:cNvSpPr>
            <a:spLocks noGrp="1"/>
          </p:cNvSpPr>
          <p:nvPr>
            <p:ph type="title"/>
          </p:nvPr>
        </p:nvSpPr>
        <p:spPr/>
        <p:txBody>
          <a:bodyPr/>
          <a:lstStyle/>
          <a:p>
            <a:endParaRPr lang="fr-FR"/>
          </a:p>
        </p:txBody>
      </p:sp>
      <p:sp>
        <p:nvSpPr>
          <p:cNvPr id="3" name="Espace réservé de la date 2">
            <a:extLst>
              <a:ext uri="{FF2B5EF4-FFF2-40B4-BE49-F238E27FC236}">
                <a16:creationId xmlns:a16="http://schemas.microsoft.com/office/drawing/2014/main" id="{AAB30CDC-2717-4AFF-8396-C23E3ABA90B1}"/>
              </a:ext>
            </a:extLst>
          </p:cNvPr>
          <p:cNvSpPr>
            <a:spLocks noGrp="1"/>
          </p:cNvSpPr>
          <p:nvPr>
            <p:ph type="dt" sz="half" idx="14"/>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15F8A439-3814-4F46-9861-A084069C5013}"/>
              </a:ext>
            </a:extLst>
          </p:cNvPr>
          <p:cNvSpPr>
            <a:spLocks noGrp="1"/>
          </p:cNvSpPr>
          <p:nvPr>
            <p:ph type="ftr" sz="quarter" idx="15"/>
          </p:nvPr>
        </p:nvSpPr>
        <p:spPr/>
        <p:txBody>
          <a:bodyPr/>
          <a:lstStyle/>
          <a:p>
            <a:pPr algn="l"/>
            <a:r>
              <a:rPr lang="fr-FR"/>
              <a:t>Titre de la présentation - 00/00/00</a:t>
            </a:r>
            <a:endParaRPr lang="fr-FR" dirty="0"/>
          </a:p>
        </p:txBody>
      </p:sp>
      <p:sp>
        <p:nvSpPr>
          <p:cNvPr id="5" name="Espace réservé du numéro de diapositive 4">
            <a:extLst>
              <a:ext uri="{FF2B5EF4-FFF2-40B4-BE49-F238E27FC236}">
                <a16:creationId xmlns:a16="http://schemas.microsoft.com/office/drawing/2014/main" id="{F069AA48-8B41-4E9A-AA7D-CF61665037B2}"/>
              </a:ext>
            </a:extLst>
          </p:cNvPr>
          <p:cNvSpPr>
            <a:spLocks noGrp="1"/>
          </p:cNvSpPr>
          <p:nvPr>
            <p:ph type="sldNum" sz="quarter" idx="16"/>
          </p:nvPr>
        </p:nvSpPr>
        <p:spPr/>
        <p:txBody>
          <a:bodyPr/>
          <a:lstStyle/>
          <a:p>
            <a:fld id="{733122C9-A0B9-462F-8757-0847AD287B63}" type="slidenum">
              <a:rPr lang="fr-FR" smtClean="0"/>
              <a:pPr/>
              <a:t>16</a:t>
            </a:fld>
            <a:endParaRPr lang="fr-FR" dirty="0"/>
          </a:p>
        </p:txBody>
      </p:sp>
      <p:sp>
        <p:nvSpPr>
          <p:cNvPr id="6" name="Espace réservé du texte 5">
            <a:extLst>
              <a:ext uri="{FF2B5EF4-FFF2-40B4-BE49-F238E27FC236}">
                <a16:creationId xmlns:a16="http://schemas.microsoft.com/office/drawing/2014/main" id="{37C5D5A6-0939-466D-87B2-2901092813ED}"/>
              </a:ext>
            </a:extLst>
          </p:cNvPr>
          <p:cNvSpPr>
            <a:spLocks noGrp="1"/>
          </p:cNvSpPr>
          <p:nvPr>
            <p:ph type="body" sz="quarter" idx="17"/>
          </p:nvPr>
        </p:nvSpPr>
        <p:spPr/>
        <p:txBody>
          <a:bodyPr/>
          <a:lstStyle/>
          <a:p>
            <a:r>
              <a:rPr lang="fr-FR" dirty="0"/>
              <a:t>Avantages environnementaux</a:t>
            </a:r>
          </a:p>
        </p:txBody>
      </p:sp>
    </p:spTree>
    <p:extLst>
      <p:ext uri="{BB962C8B-B14F-4D97-AF65-F5344CB8AC3E}">
        <p14:creationId xmlns:p14="http://schemas.microsoft.com/office/powerpoint/2010/main" val="39646852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5C66B1A1-209C-4B3A-98C8-FCB3BAA6F474}"/>
              </a:ext>
            </a:extLst>
          </p:cNvPr>
          <p:cNvGraphicFramePr>
            <a:graphicFrameLocks noChangeAspect="1"/>
          </p:cNvGraphicFramePr>
          <p:nvPr>
            <p:custDataLst>
              <p:tags r:id="rId2"/>
            </p:custDataLst>
            <p:extLst>
              <p:ext uri="{D42A27DB-BD31-4B8C-83A1-F6EECF244321}">
                <p14:modId xmlns:p14="http://schemas.microsoft.com/office/powerpoint/2010/main" val="378241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Diapositive think-cell" r:id="rId4" imgW="395" imgH="396" progId="TCLayout.ActiveDocument.1">
                  <p:embed/>
                </p:oleObj>
              </mc:Choice>
              <mc:Fallback>
                <p:oleObj name="Diapositive think-cell" r:id="rId4" imgW="395" imgH="396" progId="TCLayout.ActiveDocument.1">
                  <p:embed/>
                  <p:pic>
                    <p:nvPicPr>
                      <p:cNvPr id="9" name="Objet 8" hidden="1">
                        <a:extLst>
                          <a:ext uri="{FF2B5EF4-FFF2-40B4-BE49-F238E27FC236}">
                            <a16:creationId xmlns:a16="http://schemas.microsoft.com/office/drawing/2014/main" id="{5C66B1A1-209C-4B3A-98C8-FCB3BAA6F4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BD0D144-8735-4CEF-9E9C-1C5F495EB53F}"/>
              </a:ext>
            </a:extLst>
          </p:cNvPr>
          <p:cNvSpPr>
            <a:spLocks noGrp="1"/>
          </p:cNvSpPr>
          <p:nvPr>
            <p:ph type="title"/>
          </p:nvPr>
        </p:nvSpPr>
        <p:spPr>
          <a:xfrm>
            <a:off x="539999" y="2"/>
            <a:ext cx="8423025" cy="829737"/>
          </a:xfrm>
        </p:spPr>
        <p:txBody>
          <a:bodyPr vert="horz"/>
          <a:lstStyle/>
          <a:p>
            <a:r>
              <a:rPr lang="fr-FR" dirty="0"/>
              <a:t>Au-delà de l’intérêt économique, l’économie circulaire permet de réduire considérablement l’empreinte environnementale</a:t>
            </a:r>
          </a:p>
        </p:txBody>
      </p:sp>
      <p:sp>
        <p:nvSpPr>
          <p:cNvPr id="4" name="Espace réservé du texte 3">
            <a:extLst>
              <a:ext uri="{FF2B5EF4-FFF2-40B4-BE49-F238E27FC236}">
                <a16:creationId xmlns:a16="http://schemas.microsoft.com/office/drawing/2014/main" id="{46F1A51C-4D87-49B7-BF6B-F10EB46237D0}"/>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DCAD4225-5373-44DE-BFAC-359438E7CF93}"/>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1BF60E63-376C-4D25-B2FE-E8A8ACC76848}"/>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02C6D816-1BB7-418C-AEBF-57F197551C40}"/>
              </a:ext>
            </a:extLst>
          </p:cNvPr>
          <p:cNvSpPr>
            <a:spLocks noGrp="1"/>
          </p:cNvSpPr>
          <p:nvPr>
            <p:ph type="sldNum" sz="quarter" idx="16"/>
          </p:nvPr>
        </p:nvSpPr>
        <p:spPr/>
        <p:txBody>
          <a:bodyPr/>
          <a:lstStyle/>
          <a:p>
            <a:fld id="{733122C9-A0B9-462F-8757-0847AD287B63}" type="slidenum">
              <a:rPr lang="fr-FR" smtClean="0"/>
              <a:pPr/>
              <a:t>17</a:t>
            </a:fld>
            <a:endParaRPr lang="fr-FR" dirty="0"/>
          </a:p>
        </p:txBody>
      </p:sp>
      <p:sp>
        <p:nvSpPr>
          <p:cNvPr id="8" name="Freeform 27">
            <a:extLst>
              <a:ext uri="{FF2B5EF4-FFF2-40B4-BE49-F238E27FC236}">
                <a16:creationId xmlns:a16="http://schemas.microsoft.com/office/drawing/2014/main" id="{48C29B5E-BB5D-4B9E-BEDD-65E9B90AC1C1}"/>
              </a:ext>
            </a:extLst>
          </p:cNvPr>
          <p:cNvSpPr>
            <a:spLocks/>
          </p:cNvSpPr>
          <p:nvPr/>
        </p:nvSpPr>
        <p:spPr bwMode="auto">
          <a:xfrm>
            <a:off x="4566323" y="2661892"/>
            <a:ext cx="335807" cy="3253604"/>
          </a:xfrm>
          <a:custGeom>
            <a:avLst/>
            <a:gdLst>
              <a:gd name="T0" fmla="*/ 400 w 449"/>
              <a:gd name="T1" fmla="*/ 160 h 4361"/>
              <a:gd name="T2" fmla="*/ 320 w 449"/>
              <a:gd name="T3" fmla="*/ 483 h 4361"/>
              <a:gd name="T4" fmla="*/ 257 w 449"/>
              <a:gd name="T5" fmla="*/ 809 h 4361"/>
              <a:gd name="T6" fmla="*/ 210 w 449"/>
              <a:gd name="T7" fmla="*/ 1136 h 4361"/>
              <a:gd name="T8" fmla="*/ 177 w 449"/>
              <a:gd name="T9" fmla="*/ 1464 h 4361"/>
              <a:gd name="T10" fmla="*/ 158 w 449"/>
              <a:gd name="T11" fmla="*/ 1786 h 4361"/>
              <a:gd name="T12" fmla="*/ 149 w 449"/>
              <a:gd name="T13" fmla="*/ 2101 h 4361"/>
              <a:gd name="T14" fmla="*/ 149 w 449"/>
              <a:gd name="T15" fmla="*/ 2407 h 4361"/>
              <a:gd name="T16" fmla="*/ 159 w 449"/>
              <a:gd name="T17" fmla="*/ 2700 h 4361"/>
              <a:gd name="T18" fmla="*/ 176 w 449"/>
              <a:gd name="T19" fmla="*/ 2979 h 4361"/>
              <a:gd name="T20" fmla="*/ 197 w 449"/>
              <a:gd name="T21" fmla="*/ 3240 h 4361"/>
              <a:gd name="T22" fmla="*/ 221 w 449"/>
              <a:gd name="T23" fmla="*/ 3481 h 4361"/>
              <a:gd name="T24" fmla="*/ 247 w 449"/>
              <a:gd name="T25" fmla="*/ 3698 h 4361"/>
              <a:gd name="T26" fmla="*/ 273 w 449"/>
              <a:gd name="T27" fmla="*/ 3890 h 4361"/>
              <a:gd name="T28" fmla="*/ 299 w 449"/>
              <a:gd name="T29" fmla="*/ 4051 h 4361"/>
              <a:gd name="T30" fmla="*/ 320 w 449"/>
              <a:gd name="T31" fmla="*/ 4183 h 4361"/>
              <a:gd name="T32" fmla="*/ 338 w 449"/>
              <a:gd name="T33" fmla="*/ 4280 h 4361"/>
              <a:gd name="T34" fmla="*/ 351 w 449"/>
              <a:gd name="T35" fmla="*/ 4340 h 4361"/>
              <a:gd name="T36" fmla="*/ 355 w 449"/>
              <a:gd name="T37" fmla="*/ 4361 h 4361"/>
              <a:gd name="T38" fmla="*/ 133 w 449"/>
              <a:gd name="T39" fmla="*/ 4143 h 4361"/>
              <a:gd name="T40" fmla="*/ 68 w 449"/>
              <a:gd name="T41" fmla="*/ 3717 h 4361"/>
              <a:gd name="T42" fmla="*/ 27 w 449"/>
              <a:gd name="T43" fmla="*/ 3310 h 4361"/>
              <a:gd name="T44" fmla="*/ 5 w 449"/>
              <a:gd name="T45" fmla="*/ 2919 h 4361"/>
              <a:gd name="T46" fmla="*/ 0 w 449"/>
              <a:gd name="T47" fmla="*/ 2549 h 4361"/>
              <a:gd name="T48" fmla="*/ 10 w 449"/>
              <a:gd name="T49" fmla="*/ 2199 h 4361"/>
              <a:gd name="T50" fmla="*/ 32 w 449"/>
              <a:gd name="T51" fmla="*/ 1869 h 4361"/>
              <a:gd name="T52" fmla="*/ 66 w 449"/>
              <a:gd name="T53" fmla="*/ 1565 h 4361"/>
              <a:gd name="T54" fmla="*/ 107 w 449"/>
              <a:gd name="T55" fmla="*/ 1283 h 4361"/>
              <a:gd name="T56" fmla="*/ 153 w 449"/>
              <a:gd name="T57" fmla="*/ 1025 h 4361"/>
              <a:gd name="T58" fmla="*/ 203 w 449"/>
              <a:gd name="T59" fmla="*/ 794 h 4361"/>
              <a:gd name="T60" fmla="*/ 254 w 449"/>
              <a:gd name="T61" fmla="*/ 590 h 4361"/>
              <a:gd name="T62" fmla="*/ 304 w 449"/>
              <a:gd name="T63" fmla="*/ 414 h 4361"/>
              <a:gd name="T64" fmla="*/ 350 w 449"/>
              <a:gd name="T65" fmla="*/ 269 h 4361"/>
              <a:gd name="T66" fmla="*/ 389 w 449"/>
              <a:gd name="T67" fmla="*/ 153 h 4361"/>
              <a:gd name="T68" fmla="*/ 420 w 449"/>
              <a:gd name="T69" fmla="*/ 69 h 4361"/>
              <a:gd name="T70" fmla="*/ 441 w 449"/>
              <a:gd name="T71" fmla="*/ 18 h 4361"/>
              <a:gd name="T72" fmla="*/ 449 w 449"/>
              <a:gd name="T73" fmla="*/ 0 h 4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9" h="4361">
                <a:moveTo>
                  <a:pt x="449" y="0"/>
                </a:moveTo>
                <a:lnTo>
                  <a:pt x="400" y="160"/>
                </a:lnTo>
                <a:lnTo>
                  <a:pt x="358" y="320"/>
                </a:lnTo>
                <a:lnTo>
                  <a:pt x="320" y="483"/>
                </a:lnTo>
                <a:lnTo>
                  <a:pt x="286" y="646"/>
                </a:lnTo>
                <a:lnTo>
                  <a:pt x="257" y="809"/>
                </a:lnTo>
                <a:lnTo>
                  <a:pt x="231" y="973"/>
                </a:lnTo>
                <a:lnTo>
                  <a:pt x="210" y="1136"/>
                </a:lnTo>
                <a:lnTo>
                  <a:pt x="192" y="1301"/>
                </a:lnTo>
                <a:lnTo>
                  <a:pt x="177" y="1464"/>
                </a:lnTo>
                <a:lnTo>
                  <a:pt x="166" y="1625"/>
                </a:lnTo>
                <a:lnTo>
                  <a:pt x="158" y="1786"/>
                </a:lnTo>
                <a:lnTo>
                  <a:pt x="151" y="1944"/>
                </a:lnTo>
                <a:lnTo>
                  <a:pt x="149" y="2101"/>
                </a:lnTo>
                <a:lnTo>
                  <a:pt x="148" y="2256"/>
                </a:lnTo>
                <a:lnTo>
                  <a:pt x="149" y="2407"/>
                </a:lnTo>
                <a:lnTo>
                  <a:pt x="154" y="2555"/>
                </a:lnTo>
                <a:lnTo>
                  <a:pt x="159" y="2700"/>
                </a:lnTo>
                <a:lnTo>
                  <a:pt x="166" y="2842"/>
                </a:lnTo>
                <a:lnTo>
                  <a:pt x="176" y="2979"/>
                </a:lnTo>
                <a:lnTo>
                  <a:pt x="185" y="3113"/>
                </a:lnTo>
                <a:lnTo>
                  <a:pt x="197" y="3240"/>
                </a:lnTo>
                <a:lnTo>
                  <a:pt x="208" y="3364"/>
                </a:lnTo>
                <a:lnTo>
                  <a:pt x="221" y="3481"/>
                </a:lnTo>
                <a:lnTo>
                  <a:pt x="234" y="3592"/>
                </a:lnTo>
                <a:lnTo>
                  <a:pt x="247" y="3698"/>
                </a:lnTo>
                <a:lnTo>
                  <a:pt x="260" y="3797"/>
                </a:lnTo>
                <a:lnTo>
                  <a:pt x="273" y="3890"/>
                </a:lnTo>
                <a:lnTo>
                  <a:pt x="286" y="3975"/>
                </a:lnTo>
                <a:lnTo>
                  <a:pt x="299" y="4051"/>
                </a:lnTo>
                <a:lnTo>
                  <a:pt x="311" y="4121"/>
                </a:lnTo>
                <a:lnTo>
                  <a:pt x="320" y="4183"/>
                </a:lnTo>
                <a:lnTo>
                  <a:pt x="330" y="4236"/>
                </a:lnTo>
                <a:lnTo>
                  <a:pt x="338" y="4280"/>
                </a:lnTo>
                <a:lnTo>
                  <a:pt x="345" y="4315"/>
                </a:lnTo>
                <a:lnTo>
                  <a:pt x="351" y="4340"/>
                </a:lnTo>
                <a:lnTo>
                  <a:pt x="355" y="4356"/>
                </a:lnTo>
                <a:lnTo>
                  <a:pt x="355" y="4361"/>
                </a:lnTo>
                <a:lnTo>
                  <a:pt x="174" y="4361"/>
                </a:lnTo>
                <a:lnTo>
                  <a:pt x="133" y="4143"/>
                </a:lnTo>
                <a:lnTo>
                  <a:pt x="97" y="3928"/>
                </a:lnTo>
                <a:lnTo>
                  <a:pt x="68" y="3717"/>
                </a:lnTo>
                <a:lnTo>
                  <a:pt x="45" y="3510"/>
                </a:lnTo>
                <a:lnTo>
                  <a:pt x="27" y="3310"/>
                </a:lnTo>
                <a:lnTo>
                  <a:pt x="13" y="3111"/>
                </a:lnTo>
                <a:lnTo>
                  <a:pt x="5" y="2919"/>
                </a:lnTo>
                <a:lnTo>
                  <a:pt x="0" y="2731"/>
                </a:lnTo>
                <a:lnTo>
                  <a:pt x="0" y="2549"/>
                </a:lnTo>
                <a:lnTo>
                  <a:pt x="3" y="2371"/>
                </a:lnTo>
                <a:lnTo>
                  <a:pt x="10" y="2199"/>
                </a:lnTo>
                <a:lnTo>
                  <a:pt x="19" y="2032"/>
                </a:lnTo>
                <a:lnTo>
                  <a:pt x="32" y="1869"/>
                </a:lnTo>
                <a:lnTo>
                  <a:pt x="49" y="1715"/>
                </a:lnTo>
                <a:lnTo>
                  <a:pt x="66" y="1565"/>
                </a:lnTo>
                <a:lnTo>
                  <a:pt x="86" y="1420"/>
                </a:lnTo>
                <a:lnTo>
                  <a:pt x="107" y="1283"/>
                </a:lnTo>
                <a:lnTo>
                  <a:pt x="130" y="1151"/>
                </a:lnTo>
                <a:lnTo>
                  <a:pt x="153" y="1025"/>
                </a:lnTo>
                <a:lnTo>
                  <a:pt x="179" y="906"/>
                </a:lnTo>
                <a:lnTo>
                  <a:pt x="203" y="794"/>
                </a:lnTo>
                <a:lnTo>
                  <a:pt x="229" y="690"/>
                </a:lnTo>
                <a:lnTo>
                  <a:pt x="254" y="590"/>
                </a:lnTo>
                <a:lnTo>
                  <a:pt x="280" y="499"/>
                </a:lnTo>
                <a:lnTo>
                  <a:pt x="304" y="414"/>
                </a:lnTo>
                <a:lnTo>
                  <a:pt x="327" y="338"/>
                </a:lnTo>
                <a:lnTo>
                  <a:pt x="350" y="269"/>
                </a:lnTo>
                <a:lnTo>
                  <a:pt x="371" y="207"/>
                </a:lnTo>
                <a:lnTo>
                  <a:pt x="389" y="153"/>
                </a:lnTo>
                <a:lnTo>
                  <a:pt x="407" y="106"/>
                </a:lnTo>
                <a:lnTo>
                  <a:pt x="420" y="69"/>
                </a:lnTo>
                <a:lnTo>
                  <a:pt x="433" y="39"/>
                </a:lnTo>
                <a:lnTo>
                  <a:pt x="441" y="18"/>
                </a:lnTo>
                <a:lnTo>
                  <a:pt x="446" y="5"/>
                </a:lnTo>
                <a:lnTo>
                  <a:pt x="449" y="0"/>
                </a:lnTo>
                <a:close/>
              </a:path>
            </a:pathLst>
          </a:custGeom>
          <a:solidFill>
            <a:schemeClr val="tx1">
              <a:lumMod val="65000"/>
              <a:lumOff val="3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nvGrpSpPr>
          <p:cNvPr id="10" name="Group 2">
            <a:extLst>
              <a:ext uri="{FF2B5EF4-FFF2-40B4-BE49-F238E27FC236}">
                <a16:creationId xmlns:a16="http://schemas.microsoft.com/office/drawing/2014/main" id="{F592DC97-51FB-4178-89AF-3EFF946E9953}"/>
              </a:ext>
            </a:extLst>
          </p:cNvPr>
          <p:cNvGrpSpPr/>
          <p:nvPr/>
        </p:nvGrpSpPr>
        <p:grpSpPr>
          <a:xfrm>
            <a:off x="3021609" y="4099150"/>
            <a:ext cx="1386512" cy="1126822"/>
            <a:chOff x="2922005" y="3558130"/>
            <a:chExt cx="1386512" cy="1126822"/>
          </a:xfrm>
          <a:solidFill>
            <a:srgbClr val="1B9D91"/>
          </a:solidFill>
        </p:grpSpPr>
        <p:sp>
          <p:nvSpPr>
            <p:cNvPr id="11" name="Freeform 21">
              <a:extLst>
                <a:ext uri="{FF2B5EF4-FFF2-40B4-BE49-F238E27FC236}">
                  <a16:creationId xmlns:a16="http://schemas.microsoft.com/office/drawing/2014/main" id="{0FE16CF3-3561-4345-B334-E33B083429BC}"/>
                </a:ext>
              </a:extLst>
            </p:cNvPr>
            <p:cNvSpPr>
              <a:spLocks/>
            </p:cNvSpPr>
            <p:nvPr/>
          </p:nvSpPr>
          <p:spPr bwMode="auto">
            <a:xfrm>
              <a:off x="2922005" y="3558130"/>
              <a:ext cx="1386512" cy="1126822"/>
            </a:xfrm>
            <a:custGeom>
              <a:avLst/>
              <a:gdLst>
                <a:gd name="T0" fmla="*/ 995 w 1858"/>
                <a:gd name="T1" fmla="*/ 2 h 1511"/>
                <a:gd name="T2" fmla="*/ 1110 w 1858"/>
                <a:gd name="T3" fmla="*/ 12 h 1511"/>
                <a:gd name="T4" fmla="*/ 1223 w 1858"/>
                <a:gd name="T5" fmla="*/ 31 h 1511"/>
                <a:gd name="T6" fmla="*/ 1330 w 1858"/>
                <a:gd name="T7" fmla="*/ 59 h 1511"/>
                <a:gd name="T8" fmla="*/ 1433 w 1858"/>
                <a:gd name="T9" fmla="*/ 93 h 1511"/>
                <a:gd name="T10" fmla="*/ 1527 w 1858"/>
                <a:gd name="T11" fmla="*/ 129 h 1511"/>
                <a:gd name="T12" fmla="*/ 1613 w 1858"/>
                <a:gd name="T13" fmla="*/ 167 h 1511"/>
                <a:gd name="T14" fmla="*/ 1688 w 1858"/>
                <a:gd name="T15" fmla="*/ 204 h 1511"/>
                <a:gd name="T16" fmla="*/ 1752 w 1858"/>
                <a:gd name="T17" fmla="*/ 238 h 1511"/>
                <a:gd name="T18" fmla="*/ 1802 w 1858"/>
                <a:gd name="T19" fmla="*/ 268 h 1511"/>
                <a:gd name="T20" fmla="*/ 1836 w 1858"/>
                <a:gd name="T21" fmla="*/ 289 h 1511"/>
                <a:gd name="T22" fmla="*/ 1856 w 1858"/>
                <a:gd name="T23" fmla="*/ 300 h 1511"/>
                <a:gd name="T24" fmla="*/ 1833 w 1858"/>
                <a:gd name="T25" fmla="*/ 431 h 1511"/>
                <a:gd name="T26" fmla="*/ 1778 w 1858"/>
                <a:gd name="T27" fmla="*/ 664 h 1511"/>
                <a:gd name="T28" fmla="*/ 1709 w 1858"/>
                <a:gd name="T29" fmla="*/ 862 h 1511"/>
                <a:gd name="T30" fmla="*/ 1631 w 1858"/>
                <a:gd name="T31" fmla="*/ 1030 h 1511"/>
                <a:gd name="T32" fmla="*/ 1545 w 1858"/>
                <a:gd name="T33" fmla="*/ 1169 h 1511"/>
                <a:gd name="T34" fmla="*/ 1451 w 1858"/>
                <a:gd name="T35" fmla="*/ 1280 h 1511"/>
                <a:gd name="T36" fmla="*/ 1350 w 1858"/>
                <a:gd name="T37" fmla="*/ 1368 h 1511"/>
                <a:gd name="T38" fmla="*/ 1246 w 1858"/>
                <a:gd name="T39" fmla="*/ 1431 h 1511"/>
                <a:gd name="T40" fmla="*/ 1136 w 1858"/>
                <a:gd name="T41" fmla="*/ 1475 h 1511"/>
                <a:gd name="T42" fmla="*/ 1026 w 1858"/>
                <a:gd name="T43" fmla="*/ 1501 h 1511"/>
                <a:gd name="T44" fmla="*/ 913 w 1858"/>
                <a:gd name="T45" fmla="*/ 1511 h 1511"/>
                <a:gd name="T46" fmla="*/ 803 w 1858"/>
                <a:gd name="T47" fmla="*/ 1506 h 1511"/>
                <a:gd name="T48" fmla="*/ 694 w 1858"/>
                <a:gd name="T49" fmla="*/ 1490 h 1511"/>
                <a:gd name="T50" fmla="*/ 588 w 1858"/>
                <a:gd name="T51" fmla="*/ 1465 h 1511"/>
                <a:gd name="T52" fmla="*/ 487 w 1858"/>
                <a:gd name="T53" fmla="*/ 1433 h 1511"/>
                <a:gd name="T54" fmla="*/ 393 w 1858"/>
                <a:gd name="T55" fmla="*/ 1394 h 1511"/>
                <a:gd name="T56" fmla="*/ 305 w 1858"/>
                <a:gd name="T57" fmla="*/ 1353 h 1511"/>
                <a:gd name="T58" fmla="*/ 225 w 1858"/>
                <a:gd name="T59" fmla="*/ 1312 h 1511"/>
                <a:gd name="T60" fmla="*/ 155 w 1858"/>
                <a:gd name="T61" fmla="*/ 1271 h 1511"/>
                <a:gd name="T62" fmla="*/ 96 w 1858"/>
                <a:gd name="T63" fmla="*/ 1236 h 1511"/>
                <a:gd name="T64" fmla="*/ 51 w 1858"/>
                <a:gd name="T65" fmla="*/ 1205 h 1511"/>
                <a:gd name="T66" fmla="*/ 20 w 1858"/>
                <a:gd name="T67" fmla="*/ 1183 h 1511"/>
                <a:gd name="T68" fmla="*/ 4 w 1858"/>
                <a:gd name="T69" fmla="*/ 1170 h 1511"/>
                <a:gd name="T70" fmla="*/ 20 w 1858"/>
                <a:gd name="T71" fmla="*/ 1043 h 1511"/>
                <a:gd name="T72" fmla="*/ 69 w 1858"/>
                <a:gd name="T73" fmla="*/ 818 h 1511"/>
                <a:gd name="T74" fmla="*/ 131 w 1858"/>
                <a:gd name="T75" fmla="*/ 625 h 1511"/>
                <a:gd name="T76" fmla="*/ 205 w 1858"/>
                <a:gd name="T77" fmla="*/ 463 h 1511"/>
                <a:gd name="T78" fmla="*/ 290 w 1858"/>
                <a:gd name="T79" fmla="*/ 330 h 1511"/>
                <a:gd name="T80" fmla="*/ 384 w 1858"/>
                <a:gd name="T81" fmla="*/ 222 h 1511"/>
                <a:gd name="T82" fmla="*/ 487 w 1858"/>
                <a:gd name="T83" fmla="*/ 139 h 1511"/>
                <a:gd name="T84" fmla="*/ 594 w 1858"/>
                <a:gd name="T85" fmla="*/ 77 h 1511"/>
                <a:gd name="T86" fmla="*/ 707 w 1858"/>
                <a:gd name="T87" fmla="*/ 35 h 1511"/>
                <a:gd name="T88" fmla="*/ 821 w 1858"/>
                <a:gd name="T89" fmla="*/ 10 h 1511"/>
                <a:gd name="T90" fmla="*/ 936 w 1858"/>
                <a:gd name="T91" fmla="*/ 0 h 1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1511">
                  <a:moveTo>
                    <a:pt x="936" y="0"/>
                  </a:moveTo>
                  <a:lnTo>
                    <a:pt x="995" y="2"/>
                  </a:lnTo>
                  <a:lnTo>
                    <a:pt x="1052" y="5"/>
                  </a:lnTo>
                  <a:lnTo>
                    <a:pt x="1110" y="12"/>
                  </a:lnTo>
                  <a:lnTo>
                    <a:pt x="1166" y="20"/>
                  </a:lnTo>
                  <a:lnTo>
                    <a:pt x="1223" y="31"/>
                  </a:lnTo>
                  <a:lnTo>
                    <a:pt x="1276" y="44"/>
                  </a:lnTo>
                  <a:lnTo>
                    <a:pt x="1330" y="59"/>
                  </a:lnTo>
                  <a:lnTo>
                    <a:pt x="1382" y="75"/>
                  </a:lnTo>
                  <a:lnTo>
                    <a:pt x="1433" y="93"/>
                  </a:lnTo>
                  <a:lnTo>
                    <a:pt x="1480" y="111"/>
                  </a:lnTo>
                  <a:lnTo>
                    <a:pt x="1527" y="129"/>
                  </a:lnTo>
                  <a:lnTo>
                    <a:pt x="1571" y="149"/>
                  </a:lnTo>
                  <a:lnTo>
                    <a:pt x="1613" y="167"/>
                  </a:lnTo>
                  <a:lnTo>
                    <a:pt x="1652" y="186"/>
                  </a:lnTo>
                  <a:lnTo>
                    <a:pt x="1688" y="204"/>
                  </a:lnTo>
                  <a:lnTo>
                    <a:pt x="1722" y="222"/>
                  </a:lnTo>
                  <a:lnTo>
                    <a:pt x="1752" y="238"/>
                  </a:lnTo>
                  <a:lnTo>
                    <a:pt x="1779" y="253"/>
                  </a:lnTo>
                  <a:lnTo>
                    <a:pt x="1802" y="268"/>
                  </a:lnTo>
                  <a:lnTo>
                    <a:pt x="1822" y="279"/>
                  </a:lnTo>
                  <a:lnTo>
                    <a:pt x="1836" y="289"/>
                  </a:lnTo>
                  <a:lnTo>
                    <a:pt x="1848" y="295"/>
                  </a:lnTo>
                  <a:lnTo>
                    <a:pt x="1856" y="300"/>
                  </a:lnTo>
                  <a:lnTo>
                    <a:pt x="1858" y="302"/>
                  </a:lnTo>
                  <a:lnTo>
                    <a:pt x="1833" y="431"/>
                  </a:lnTo>
                  <a:lnTo>
                    <a:pt x="1807" y="551"/>
                  </a:lnTo>
                  <a:lnTo>
                    <a:pt x="1778" y="664"/>
                  </a:lnTo>
                  <a:lnTo>
                    <a:pt x="1745" y="766"/>
                  </a:lnTo>
                  <a:lnTo>
                    <a:pt x="1709" y="862"/>
                  </a:lnTo>
                  <a:lnTo>
                    <a:pt x="1672" y="950"/>
                  </a:lnTo>
                  <a:lnTo>
                    <a:pt x="1631" y="1030"/>
                  </a:lnTo>
                  <a:lnTo>
                    <a:pt x="1589" y="1104"/>
                  </a:lnTo>
                  <a:lnTo>
                    <a:pt x="1545" y="1169"/>
                  </a:lnTo>
                  <a:lnTo>
                    <a:pt x="1498" y="1227"/>
                  </a:lnTo>
                  <a:lnTo>
                    <a:pt x="1451" y="1280"/>
                  </a:lnTo>
                  <a:lnTo>
                    <a:pt x="1400" y="1327"/>
                  </a:lnTo>
                  <a:lnTo>
                    <a:pt x="1350" y="1368"/>
                  </a:lnTo>
                  <a:lnTo>
                    <a:pt x="1298" y="1402"/>
                  </a:lnTo>
                  <a:lnTo>
                    <a:pt x="1246" y="1431"/>
                  </a:lnTo>
                  <a:lnTo>
                    <a:pt x="1190" y="1456"/>
                  </a:lnTo>
                  <a:lnTo>
                    <a:pt x="1136" y="1475"/>
                  </a:lnTo>
                  <a:lnTo>
                    <a:pt x="1081" y="1490"/>
                  </a:lnTo>
                  <a:lnTo>
                    <a:pt x="1026" y="1501"/>
                  </a:lnTo>
                  <a:lnTo>
                    <a:pt x="970" y="1508"/>
                  </a:lnTo>
                  <a:lnTo>
                    <a:pt x="913" y="1511"/>
                  </a:lnTo>
                  <a:lnTo>
                    <a:pt x="858" y="1509"/>
                  </a:lnTo>
                  <a:lnTo>
                    <a:pt x="803" y="1506"/>
                  </a:lnTo>
                  <a:lnTo>
                    <a:pt x="749" y="1500"/>
                  </a:lnTo>
                  <a:lnTo>
                    <a:pt x="694" y="1490"/>
                  </a:lnTo>
                  <a:lnTo>
                    <a:pt x="642" y="1478"/>
                  </a:lnTo>
                  <a:lnTo>
                    <a:pt x="588" y="1465"/>
                  </a:lnTo>
                  <a:lnTo>
                    <a:pt x="537" y="1449"/>
                  </a:lnTo>
                  <a:lnTo>
                    <a:pt x="487" y="1433"/>
                  </a:lnTo>
                  <a:lnTo>
                    <a:pt x="440" y="1413"/>
                  </a:lnTo>
                  <a:lnTo>
                    <a:pt x="393" y="1394"/>
                  </a:lnTo>
                  <a:lnTo>
                    <a:pt x="347" y="1374"/>
                  </a:lnTo>
                  <a:lnTo>
                    <a:pt x="305" y="1353"/>
                  </a:lnTo>
                  <a:lnTo>
                    <a:pt x="264" y="1333"/>
                  </a:lnTo>
                  <a:lnTo>
                    <a:pt x="225" y="1312"/>
                  </a:lnTo>
                  <a:lnTo>
                    <a:pt x="189" y="1293"/>
                  </a:lnTo>
                  <a:lnTo>
                    <a:pt x="155" y="1271"/>
                  </a:lnTo>
                  <a:lnTo>
                    <a:pt x="124" y="1254"/>
                  </a:lnTo>
                  <a:lnTo>
                    <a:pt x="96" y="1236"/>
                  </a:lnTo>
                  <a:lnTo>
                    <a:pt x="72" y="1219"/>
                  </a:lnTo>
                  <a:lnTo>
                    <a:pt x="51" y="1205"/>
                  </a:lnTo>
                  <a:lnTo>
                    <a:pt x="35" y="1193"/>
                  </a:lnTo>
                  <a:lnTo>
                    <a:pt x="20" y="1183"/>
                  </a:lnTo>
                  <a:lnTo>
                    <a:pt x="10" y="1175"/>
                  </a:lnTo>
                  <a:lnTo>
                    <a:pt x="4" y="1170"/>
                  </a:lnTo>
                  <a:lnTo>
                    <a:pt x="0" y="1169"/>
                  </a:lnTo>
                  <a:lnTo>
                    <a:pt x="20" y="1043"/>
                  </a:lnTo>
                  <a:lnTo>
                    <a:pt x="43" y="926"/>
                  </a:lnTo>
                  <a:lnTo>
                    <a:pt x="69" y="818"/>
                  </a:lnTo>
                  <a:lnTo>
                    <a:pt x="98" y="717"/>
                  </a:lnTo>
                  <a:lnTo>
                    <a:pt x="131" y="625"/>
                  </a:lnTo>
                  <a:lnTo>
                    <a:pt x="166" y="540"/>
                  </a:lnTo>
                  <a:lnTo>
                    <a:pt x="205" y="463"/>
                  </a:lnTo>
                  <a:lnTo>
                    <a:pt x="248" y="393"/>
                  </a:lnTo>
                  <a:lnTo>
                    <a:pt x="290" y="330"/>
                  </a:lnTo>
                  <a:lnTo>
                    <a:pt x="337" y="273"/>
                  </a:lnTo>
                  <a:lnTo>
                    <a:pt x="384" y="222"/>
                  </a:lnTo>
                  <a:lnTo>
                    <a:pt x="435" y="176"/>
                  </a:lnTo>
                  <a:lnTo>
                    <a:pt x="487" y="139"/>
                  </a:lnTo>
                  <a:lnTo>
                    <a:pt x="539" y="105"/>
                  </a:lnTo>
                  <a:lnTo>
                    <a:pt x="594" y="77"/>
                  </a:lnTo>
                  <a:lnTo>
                    <a:pt x="650" y="53"/>
                  </a:lnTo>
                  <a:lnTo>
                    <a:pt x="707" y="35"/>
                  </a:lnTo>
                  <a:lnTo>
                    <a:pt x="764" y="20"/>
                  </a:lnTo>
                  <a:lnTo>
                    <a:pt x="821" y="10"/>
                  </a:lnTo>
                  <a:lnTo>
                    <a:pt x="879" y="4"/>
                  </a:lnTo>
                  <a:lnTo>
                    <a:pt x="9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2" name="Freeform 28">
              <a:extLst>
                <a:ext uri="{FF2B5EF4-FFF2-40B4-BE49-F238E27FC236}">
                  <a16:creationId xmlns:a16="http://schemas.microsoft.com/office/drawing/2014/main" id="{776BE780-CFD6-4D9A-BC92-5BA244B137E2}"/>
                </a:ext>
              </a:extLst>
            </p:cNvPr>
            <p:cNvSpPr>
              <a:spLocks/>
            </p:cNvSpPr>
            <p:nvPr/>
          </p:nvSpPr>
          <p:spPr bwMode="auto">
            <a:xfrm>
              <a:off x="3030954" y="3559622"/>
              <a:ext cx="1277562" cy="804447"/>
            </a:xfrm>
            <a:custGeom>
              <a:avLst/>
              <a:gdLst>
                <a:gd name="T0" fmla="*/ 843 w 1711"/>
                <a:gd name="T1" fmla="*/ 0 h 1079"/>
                <a:gd name="T2" fmla="*/ 970 w 1711"/>
                <a:gd name="T3" fmla="*/ 11 h 1079"/>
                <a:gd name="T4" fmla="*/ 1092 w 1711"/>
                <a:gd name="T5" fmla="*/ 34 h 1079"/>
                <a:gd name="T6" fmla="*/ 1211 w 1711"/>
                <a:gd name="T7" fmla="*/ 65 h 1079"/>
                <a:gd name="T8" fmla="*/ 1320 w 1711"/>
                <a:gd name="T9" fmla="*/ 103 h 1079"/>
                <a:gd name="T10" fmla="*/ 1421 w 1711"/>
                <a:gd name="T11" fmla="*/ 145 h 1079"/>
                <a:gd name="T12" fmla="*/ 1509 w 1711"/>
                <a:gd name="T13" fmla="*/ 186 h 1079"/>
                <a:gd name="T14" fmla="*/ 1585 w 1711"/>
                <a:gd name="T15" fmla="*/ 225 h 1079"/>
                <a:gd name="T16" fmla="*/ 1644 w 1711"/>
                <a:gd name="T17" fmla="*/ 259 h 1079"/>
                <a:gd name="T18" fmla="*/ 1686 w 1711"/>
                <a:gd name="T19" fmla="*/ 284 h 1079"/>
                <a:gd name="T20" fmla="*/ 1707 w 1711"/>
                <a:gd name="T21" fmla="*/ 298 h 1079"/>
                <a:gd name="T22" fmla="*/ 1688 w 1711"/>
                <a:gd name="T23" fmla="*/ 424 h 1079"/>
                <a:gd name="T24" fmla="*/ 1634 w 1711"/>
                <a:gd name="T25" fmla="*/ 649 h 1079"/>
                <a:gd name="T26" fmla="*/ 1569 w 1711"/>
                <a:gd name="T27" fmla="*/ 843 h 1079"/>
                <a:gd name="T28" fmla="*/ 1496 w 1711"/>
                <a:gd name="T29" fmla="*/ 1007 h 1079"/>
                <a:gd name="T30" fmla="*/ 1465 w 1711"/>
                <a:gd name="T31" fmla="*/ 1007 h 1079"/>
                <a:gd name="T32" fmla="*/ 1470 w 1711"/>
                <a:gd name="T33" fmla="*/ 875 h 1079"/>
                <a:gd name="T34" fmla="*/ 1458 w 1711"/>
                <a:gd name="T35" fmla="*/ 755 h 1079"/>
                <a:gd name="T36" fmla="*/ 1439 w 1711"/>
                <a:gd name="T37" fmla="*/ 653 h 1079"/>
                <a:gd name="T38" fmla="*/ 1414 w 1711"/>
                <a:gd name="T39" fmla="*/ 574 h 1079"/>
                <a:gd name="T40" fmla="*/ 1393 w 1711"/>
                <a:gd name="T41" fmla="*/ 517 h 1079"/>
                <a:gd name="T42" fmla="*/ 1380 w 1711"/>
                <a:gd name="T43" fmla="*/ 486 h 1079"/>
                <a:gd name="T44" fmla="*/ 1269 w 1711"/>
                <a:gd name="T45" fmla="*/ 445 h 1079"/>
                <a:gd name="T46" fmla="*/ 1064 w 1711"/>
                <a:gd name="T47" fmla="*/ 393 h 1079"/>
                <a:gd name="T48" fmla="*/ 877 w 1711"/>
                <a:gd name="T49" fmla="*/ 363 h 1079"/>
                <a:gd name="T50" fmla="*/ 708 w 1711"/>
                <a:gd name="T51" fmla="*/ 355 h 1079"/>
                <a:gd name="T52" fmla="*/ 555 w 1711"/>
                <a:gd name="T53" fmla="*/ 365 h 1079"/>
                <a:gd name="T54" fmla="*/ 418 w 1711"/>
                <a:gd name="T55" fmla="*/ 390 h 1079"/>
                <a:gd name="T56" fmla="*/ 298 w 1711"/>
                <a:gd name="T57" fmla="*/ 424 h 1079"/>
                <a:gd name="T58" fmla="*/ 194 w 1711"/>
                <a:gd name="T59" fmla="*/ 466 h 1079"/>
                <a:gd name="T60" fmla="*/ 104 w 1711"/>
                <a:gd name="T61" fmla="*/ 513 h 1079"/>
                <a:gd name="T62" fmla="*/ 31 w 1711"/>
                <a:gd name="T63" fmla="*/ 561 h 1079"/>
                <a:gd name="T64" fmla="*/ 41 w 1711"/>
                <a:gd name="T65" fmla="*/ 495 h 1079"/>
                <a:gd name="T66" fmla="*/ 132 w 1711"/>
                <a:gd name="T67" fmla="*/ 342 h 1079"/>
                <a:gd name="T68" fmla="*/ 236 w 1711"/>
                <a:gd name="T69" fmla="*/ 223 h 1079"/>
                <a:gd name="T70" fmla="*/ 347 w 1711"/>
                <a:gd name="T71" fmla="*/ 132 h 1079"/>
                <a:gd name="T72" fmla="*/ 465 w 1711"/>
                <a:gd name="T73" fmla="*/ 67 h 1079"/>
                <a:gd name="T74" fmla="*/ 589 w 1711"/>
                <a:gd name="T75" fmla="*/ 24 h 1079"/>
                <a:gd name="T76" fmla="*/ 716 w 1711"/>
                <a:gd name="T77" fmla="*/ 3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11" h="1079">
                  <a:moveTo>
                    <a:pt x="780" y="0"/>
                  </a:moveTo>
                  <a:lnTo>
                    <a:pt x="843" y="0"/>
                  </a:lnTo>
                  <a:lnTo>
                    <a:pt x="906" y="3"/>
                  </a:lnTo>
                  <a:lnTo>
                    <a:pt x="970" y="11"/>
                  </a:lnTo>
                  <a:lnTo>
                    <a:pt x="1032" y="21"/>
                  </a:lnTo>
                  <a:lnTo>
                    <a:pt x="1092" y="34"/>
                  </a:lnTo>
                  <a:lnTo>
                    <a:pt x="1152" y="49"/>
                  </a:lnTo>
                  <a:lnTo>
                    <a:pt x="1211" y="65"/>
                  </a:lnTo>
                  <a:lnTo>
                    <a:pt x="1266" y="83"/>
                  </a:lnTo>
                  <a:lnTo>
                    <a:pt x="1320" y="103"/>
                  </a:lnTo>
                  <a:lnTo>
                    <a:pt x="1372" y="124"/>
                  </a:lnTo>
                  <a:lnTo>
                    <a:pt x="1421" y="145"/>
                  </a:lnTo>
                  <a:lnTo>
                    <a:pt x="1466" y="166"/>
                  </a:lnTo>
                  <a:lnTo>
                    <a:pt x="1509" y="186"/>
                  </a:lnTo>
                  <a:lnTo>
                    <a:pt x="1549" y="205"/>
                  </a:lnTo>
                  <a:lnTo>
                    <a:pt x="1585" y="225"/>
                  </a:lnTo>
                  <a:lnTo>
                    <a:pt x="1616" y="243"/>
                  </a:lnTo>
                  <a:lnTo>
                    <a:pt x="1644" y="259"/>
                  </a:lnTo>
                  <a:lnTo>
                    <a:pt x="1667" y="272"/>
                  </a:lnTo>
                  <a:lnTo>
                    <a:pt x="1686" y="284"/>
                  </a:lnTo>
                  <a:lnTo>
                    <a:pt x="1699" y="292"/>
                  </a:lnTo>
                  <a:lnTo>
                    <a:pt x="1707" y="298"/>
                  </a:lnTo>
                  <a:lnTo>
                    <a:pt x="1711" y="300"/>
                  </a:lnTo>
                  <a:lnTo>
                    <a:pt x="1688" y="424"/>
                  </a:lnTo>
                  <a:lnTo>
                    <a:pt x="1662" y="541"/>
                  </a:lnTo>
                  <a:lnTo>
                    <a:pt x="1634" y="649"/>
                  </a:lnTo>
                  <a:lnTo>
                    <a:pt x="1603" y="750"/>
                  </a:lnTo>
                  <a:lnTo>
                    <a:pt x="1569" y="843"/>
                  </a:lnTo>
                  <a:lnTo>
                    <a:pt x="1533" y="929"/>
                  </a:lnTo>
                  <a:lnTo>
                    <a:pt x="1496" y="1007"/>
                  </a:lnTo>
                  <a:lnTo>
                    <a:pt x="1455" y="1079"/>
                  </a:lnTo>
                  <a:lnTo>
                    <a:pt x="1465" y="1007"/>
                  </a:lnTo>
                  <a:lnTo>
                    <a:pt x="1470" y="940"/>
                  </a:lnTo>
                  <a:lnTo>
                    <a:pt x="1470" y="875"/>
                  </a:lnTo>
                  <a:lnTo>
                    <a:pt x="1465" y="813"/>
                  </a:lnTo>
                  <a:lnTo>
                    <a:pt x="1458" y="755"/>
                  </a:lnTo>
                  <a:lnTo>
                    <a:pt x="1448" y="702"/>
                  </a:lnTo>
                  <a:lnTo>
                    <a:pt x="1439" y="653"/>
                  </a:lnTo>
                  <a:lnTo>
                    <a:pt x="1427" y="611"/>
                  </a:lnTo>
                  <a:lnTo>
                    <a:pt x="1414" y="574"/>
                  </a:lnTo>
                  <a:lnTo>
                    <a:pt x="1403" y="541"/>
                  </a:lnTo>
                  <a:lnTo>
                    <a:pt x="1393" y="517"/>
                  </a:lnTo>
                  <a:lnTo>
                    <a:pt x="1385" y="497"/>
                  </a:lnTo>
                  <a:lnTo>
                    <a:pt x="1380" y="486"/>
                  </a:lnTo>
                  <a:lnTo>
                    <a:pt x="1378" y="482"/>
                  </a:lnTo>
                  <a:lnTo>
                    <a:pt x="1269" y="445"/>
                  </a:lnTo>
                  <a:lnTo>
                    <a:pt x="1164" y="416"/>
                  </a:lnTo>
                  <a:lnTo>
                    <a:pt x="1064" y="393"/>
                  </a:lnTo>
                  <a:lnTo>
                    <a:pt x="968" y="375"/>
                  </a:lnTo>
                  <a:lnTo>
                    <a:pt x="877" y="363"/>
                  </a:lnTo>
                  <a:lnTo>
                    <a:pt x="791" y="357"/>
                  </a:lnTo>
                  <a:lnTo>
                    <a:pt x="708" y="355"/>
                  </a:lnTo>
                  <a:lnTo>
                    <a:pt x="628" y="359"/>
                  </a:lnTo>
                  <a:lnTo>
                    <a:pt x="555" y="365"/>
                  </a:lnTo>
                  <a:lnTo>
                    <a:pt x="485" y="376"/>
                  </a:lnTo>
                  <a:lnTo>
                    <a:pt x="418" y="390"/>
                  </a:lnTo>
                  <a:lnTo>
                    <a:pt x="356" y="406"/>
                  </a:lnTo>
                  <a:lnTo>
                    <a:pt x="298" y="424"/>
                  </a:lnTo>
                  <a:lnTo>
                    <a:pt x="244" y="445"/>
                  </a:lnTo>
                  <a:lnTo>
                    <a:pt x="194" y="466"/>
                  </a:lnTo>
                  <a:lnTo>
                    <a:pt x="146" y="491"/>
                  </a:lnTo>
                  <a:lnTo>
                    <a:pt x="104" y="513"/>
                  </a:lnTo>
                  <a:lnTo>
                    <a:pt x="67" y="538"/>
                  </a:lnTo>
                  <a:lnTo>
                    <a:pt x="31" y="561"/>
                  </a:lnTo>
                  <a:lnTo>
                    <a:pt x="0" y="585"/>
                  </a:lnTo>
                  <a:lnTo>
                    <a:pt x="41" y="495"/>
                  </a:lnTo>
                  <a:lnTo>
                    <a:pt x="84" y="416"/>
                  </a:lnTo>
                  <a:lnTo>
                    <a:pt x="132" y="342"/>
                  </a:lnTo>
                  <a:lnTo>
                    <a:pt x="182" y="279"/>
                  </a:lnTo>
                  <a:lnTo>
                    <a:pt x="236" y="223"/>
                  </a:lnTo>
                  <a:lnTo>
                    <a:pt x="290" y="173"/>
                  </a:lnTo>
                  <a:lnTo>
                    <a:pt x="347" y="132"/>
                  </a:lnTo>
                  <a:lnTo>
                    <a:pt x="405" y="96"/>
                  </a:lnTo>
                  <a:lnTo>
                    <a:pt x="465" y="67"/>
                  </a:lnTo>
                  <a:lnTo>
                    <a:pt x="527" y="42"/>
                  </a:lnTo>
                  <a:lnTo>
                    <a:pt x="589" y="24"/>
                  </a:lnTo>
                  <a:lnTo>
                    <a:pt x="653" y="11"/>
                  </a:lnTo>
                  <a:lnTo>
                    <a:pt x="716" y="3"/>
                  </a:lnTo>
                  <a:lnTo>
                    <a:pt x="780" y="0"/>
                  </a:lnTo>
                  <a:close/>
                </a:path>
              </a:pathLst>
            </a:custGeom>
            <a:solidFill>
              <a:srgbClr val="FFFFFF">
                <a:alpha val="20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nvGrpSpPr>
          <p:cNvPr id="13" name="Group 5">
            <a:extLst>
              <a:ext uri="{FF2B5EF4-FFF2-40B4-BE49-F238E27FC236}">
                <a16:creationId xmlns:a16="http://schemas.microsoft.com/office/drawing/2014/main" id="{91A81FC7-84AF-426F-86D8-875A4F4A9D94}"/>
              </a:ext>
            </a:extLst>
          </p:cNvPr>
          <p:cNvGrpSpPr/>
          <p:nvPr/>
        </p:nvGrpSpPr>
        <p:grpSpPr>
          <a:xfrm>
            <a:off x="3263390" y="2890242"/>
            <a:ext cx="1308904" cy="980559"/>
            <a:chOff x="3163786" y="2349222"/>
            <a:chExt cx="1308904" cy="980559"/>
          </a:xfrm>
        </p:grpSpPr>
        <p:sp>
          <p:nvSpPr>
            <p:cNvPr id="14" name="Freeform 22">
              <a:extLst>
                <a:ext uri="{FF2B5EF4-FFF2-40B4-BE49-F238E27FC236}">
                  <a16:creationId xmlns:a16="http://schemas.microsoft.com/office/drawing/2014/main" id="{26E4B600-5924-464D-A2E9-2F1B7C0D0921}"/>
                </a:ext>
              </a:extLst>
            </p:cNvPr>
            <p:cNvSpPr>
              <a:spLocks/>
            </p:cNvSpPr>
            <p:nvPr/>
          </p:nvSpPr>
          <p:spPr bwMode="auto">
            <a:xfrm>
              <a:off x="3163786" y="2349222"/>
              <a:ext cx="1308904" cy="980559"/>
            </a:xfrm>
            <a:custGeom>
              <a:avLst/>
              <a:gdLst>
                <a:gd name="T0" fmla="*/ 895 w 1753"/>
                <a:gd name="T1" fmla="*/ 1 h 1315"/>
                <a:gd name="T2" fmla="*/ 1013 w 1753"/>
                <a:gd name="T3" fmla="*/ 19 h 1315"/>
                <a:gd name="T4" fmla="*/ 1122 w 1753"/>
                <a:gd name="T5" fmla="*/ 57 h 1315"/>
                <a:gd name="T6" fmla="*/ 1221 w 1753"/>
                <a:gd name="T7" fmla="*/ 109 h 1315"/>
                <a:gd name="T8" fmla="*/ 1311 w 1753"/>
                <a:gd name="T9" fmla="*/ 174 h 1315"/>
                <a:gd name="T10" fmla="*/ 1392 w 1753"/>
                <a:gd name="T11" fmla="*/ 249 h 1315"/>
                <a:gd name="T12" fmla="*/ 1465 w 1753"/>
                <a:gd name="T13" fmla="*/ 330 h 1315"/>
                <a:gd name="T14" fmla="*/ 1530 w 1753"/>
                <a:gd name="T15" fmla="*/ 415 h 1315"/>
                <a:gd name="T16" fmla="*/ 1587 w 1753"/>
                <a:gd name="T17" fmla="*/ 500 h 1315"/>
                <a:gd name="T18" fmla="*/ 1634 w 1753"/>
                <a:gd name="T19" fmla="*/ 583 h 1315"/>
                <a:gd name="T20" fmla="*/ 1674 w 1753"/>
                <a:gd name="T21" fmla="*/ 658 h 1315"/>
                <a:gd name="T22" fmla="*/ 1706 w 1753"/>
                <a:gd name="T23" fmla="*/ 725 h 1315"/>
                <a:gd name="T24" fmla="*/ 1729 w 1753"/>
                <a:gd name="T25" fmla="*/ 780 h 1315"/>
                <a:gd name="T26" fmla="*/ 1745 w 1753"/>
                <a:gd name="T27" fmla="*/ 819 h 1315"/>
                <a:gd name="T28" fmla="*/ 1753 w 1753"/>
                <a:gd name="T29" fmla="*/ 840 h 1315"/>
                <a:gd name="T30" fmla="*/ 1660 w 1753"/>
                <a:gd name="T31" fmla="*/ 928 h 1315"/>
                <a:gd name="T32" fmla="*/ 1483 w 1753"/>
                <a:gd name="T33" fmla="*/ 1070 h 1315"/>
                <a:gd name="T34" fmla="*/ 1317 w 1753"/>
                <a:gd name="T35" fmla="*/ 1176 h 1315"/>
                <a:gd name="T36" fmla="*/ 1164 w 1753"/>
                <a:gd name="T37" fmla="*/ 1249 h 1315"/>
                <a:gd name="T38" fmla="*/ 1021 w 1753"/>
                <a:gd name="T39" fmla="*/ 1295 h 1315"/>
                <a:gd name="T40" fmla="*/ 889 w 1753"/>
                <a:gd name="T41" fmla="*/ 1315 h 1315"/>
                <a:gd name="T42" fmla="*/ 767 w 1753"/>
                <a:gd name="T43" fmla="*/ 1310 h 1315"/>
                <a:gd name="T44" fmla="*/ 656 w 1753"/>
                <a:gd name="T45" fmla="*/ 1285 h 1315"/>
                <a:gd name="T46" fmla="*/ 554 w 1753"/>
                <a:gd name="T47" fmla="*/ 1245 h 1315"/>
                <a:gd name="T48" fmla="*/ 463 w 1753"/>
                <a:gd name="T49" fmla="*/ 1189 h 1315"/>
                <a:gd name="T50" fmla="*/ 380 w 1753"/>
                <a:gd name="T51" fmla="*/ 1121 h 1315"/>
                <a:gd name="T52" fmla="*/ 306 w 1753"/>
                <a:gd name="T53" fmla="*/ 1046 h 1315"/>
                <a:gd name="T54" fmla="*/ 243 w 1753"/>
                <a:gd name="T55" fmla="*/ 963 h 1315"/>
                <a:gd name="T56" fmla="*/ 186 w 1753"/>
                <a:gd name="T57" fmla="*/ 880 h 1315"/>
                <a:gd name="T58" fmla="*/ 137 w 1753"/>
                <a:gd name="T59" fmla="*/ 795 h 1315"/>
                <a:gd name="T60" fmla="*/ 98 w 1753"/>
                <a:gd name="T61" fmla="*/ 715 h 1315"/>
                <a:gd name="T62" fmla="*/ 64 w 1753"/>
                <a:gd name="T63" fmla="*/ 640 h 1315"/>
                <a:gd name="T64" fmla="*/ 39 w 1753"/>
                <a:gd name="T65" fmla="*/ 575 h 1315"/>
                <a:gd name="T66" fmla="*/ 20 w 1753"/>
                <a:gd name="T67" fmla="*/ 521 h 1315"/>
                <a:gd name="T68" fmla="*/ 8 w 1753"/>
                <a:gd name="T69" fmla="*/ 482 h 1315"/>
                <a:gd name="T70" fmla="*/ 2 w 1753"/>
                <a:gd name="T71" fmla="*/ 462 h 1315"/>
                <a:gd name="T72" fmla="*/ 88 w 1753"/>
                <a:gd name="T73" fmla="*/ 374 h 1315"/>
                <a:gd name="T74" fmla="*/ 256 w 1753"/>
                <a:gd name="T75" fmla="*/ 234 h 1315"/>
                <a:gd name="T76" fmla="*/ 415 w 1753"/>
                <a:gd name="T77" fmla="*/ 130 h 1315"/>
                <a:gd name="T78" fmla="*/ 563 w 1753"/>
                <a:gd name="T79" fmla="*/ 58 h 1315"/>
                <a:gd name="T80" fmla="*/ 703 w 1753"/>
                <a:gd name="T81" fmla="*/ 16 h 1315"/>
                <a:gd name="T82" fmla="*/ 834 w 1753"/>
                <a:gd name="T83" fmla="*/ 0 h 1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53" h="1315">
                  <a:moveTo>
                    <a:pt x="834" y="0"/>
                  </a:moveTo>
                  <a:lnTo>
                    <a:pt x="895" y="1"/>
                  </a:lnTo>
                  <a:lnTo>
                    <a:pt x="956" y="8"/>
                  </a:lnTo>
                  <a:lnTo>
                    <a:pt x="1013" y="19"/>
                  </a:lnTo>
                  <a:lnTo>
                    <a:pt x="1068" y="35"/>
                  </a:lnTo>
                  <a:lnTo>
                    <a:pt x="1122" y="57"/>
                  </a:lnTo>
                  <a:lnTo>
                    <a:pt x="1172" y="81"/>
                  </a:lnTo>
                  <a:lnTo>
                    <a:pt x="1221" y="109"/>
                  </a:lnTo>
                  <a:lnTo>
                    <a:pt x="1267" y="140"/>
                  </a:lnTo>
                  <a:lnTo>
                    <a:pt x="1311" y="174"/>
                  </a:lnTo>
                  <a:lnTo>
                    <a:pt x="1353" y="211"/>
                  </a:lnTo>
                  <a:lnTo>
                    <a:pt x="1392" y="249"/>
                  </a:lnTo>
                  <a:lnTo>
                    <a:pt x="1429" y="290"/>
                  </a:lnTo>
                  <a:lnTo>
                    <a:pt x="1465" y="330"/>
                  </a:lnTo>
                  <a:lnTo>
                    <a:pt x="1499" y="373"/>
                  </a:lnTo>
                  <a:lnTo>
                    <a:pt x="1530" y="415"/>
                  </a:lnTo>
                  <a:lnTo>
                    <a:pt x="1560" y="458"/>
                  </a:lnTo>
                  <a:lnTo>
                    <a:pt x="1587" y="500"/>
                  </a:lnTo>
                  <a:lnTo>
                    <a:pt x="1612" y="542"/>
                  </a:lnTo>
                  <a:lnTo>
                    <a:pt x="1634" y="583"/>
                  </a:lnTo>
                  <a:lnTo>
                    <a:pt x="1656" y="622"/>
                  </a:lnTo>
                  <a:lnTo>
                    <a:pt x="1674" y="658"/>
                  </a:lnTo>
                  <a:lnTo>
                    <a:pt x="1691" y="694"/>
                  </a:lnTo>
                  <a:lnTo>
                    <a:pt x="1706" y="725"/>
                  </a:lnTo>
                  <a:lnTo>
                    <a:pt x="1719" y="754"/>
                  </a:lnTo>
                  <a:lnTo>
                    <a:pt x="1729" y="780"/>
                  </a:lnTo>
                  <a:lnTo>
                    <a:pt x="1739" y="803"/>
                  </a:lnTo>
                  <a:lnTo>
                    <a:pt x="1745" y="819"/>
                  </a:lnTo>
                  <a:lnTo>
                    <a:pt x="1750" y="832"/>
                  </a:lnTo>
                  <a:lnTo>
                    <a:pt x="1753" y="840"/>
                  </a:lnTo>
                  <a:lnTo>
                    <a:pt x="1753" y="844"/>
                  </a:lnTo>
                  <a:lnTo>
                    <a:pt x="1660" y="928"/>
                  </a:lnTo>
                  <a:lnTo>
                    <a:pt x="1571" y="1003"/>
                  </a:lnTo>
                  <a:lnTo>
                    <a:pt x="1483" y="1070"/>
                  </a:lnTo>
                  <a:lnTo>
                    <a:pt x="1398" y="1127"/>
                  </a:lnTo>
                  <a:lnTo>
                    <a:pt x="1317" y="1176"/>
                  </a:lnTo>
                  <a:lnTo>
                    <a:pt x="1239" y="1217"/>
                  </a:lnTo>
                  <a:lnTo>
                    <a:pt x="1164" y="1249"/>
                  </a:lnTo>
                  <a:lnTo>
                    <a:pt x="1091" y="1276"/>
                  </a:lnTo>
                  <a:lnTo>
                    <a:pt x="1021" y="1295"/>
                  </a:lnTo>
                  <a:lnTo>
                    <a:pt x="952" y="1308"/>
                  </a:lnTo>
                  <a:lnTo>
                    <a:pt x="889" y="1315"/>
                  </a:lnTo>
                  <a:lnTo>
                    <a:pt x="827" y="1315"/>
                  </a:lnTo>
                  <a:lnTo>
                    <a:pt x="767" y="1310"/>
                  </a:lnTo>
                  <a:lnTo>
                    <a:pt x="710" y="1300"/>
                  </a:lnTo>
                  <a:lnTo>
                    <a:pt x="656" y="1285"/>
                  </a:lnTo>
                  <a:lnTo>
                    <a:pt x="604" y="1267"/>
                  </a:lnTo>
                  <a:lnTo>
                    <a:pt x="554" y="1245"/>
                  </a:lnTo>
                  <a:lnTo>
                    <a:pt x="506" y="1219"/>
                  </a:lnTo>
                  <a:lnTo>
                    <a:pt x="463" y="1189"/>
                  </a:lnTo>
                  <a:lnTo>
                    <a:pt x="420" y="1157"/>
                  </a:lnTo>
                  <a:lnTo>
                    <a:pt x="380" y="1121"/>
                  </a:lnTo>
                  <a:lnTo>
                    <a:pt x="342" y="1083"/>
                  </a:lnTo>
                  <a:lnTo>
                    <a:pt x="306" y="1046"/>
                  </a:lnTo>
                  <a:lnTo>
                    <a:pt x="274" y="1005"/>
                  </a:lnTo>
                  <a:lnTo>
                    <a:pt x="243" y="963"/>
                  </a:lnTo>
                  <a:lnTo>
                    <a:pt x="213" y="922"/>
                  </a:lnTo>
                  <a:lnTo>
                    <a:pt x="186" y="880"/>
                  </a:lnTo>
                  <a:lnTo>
                    <a:pt x="161" y="837"/>
                  </a:lnTo>
                  <a:lnTo>
                    <a:pt x="137" y="795"/>
                  </a:lnTo>
                  <a:lnTo>
                    <a:pt x="116" y="754"/>
                  </a:lnTo>
                  <a:lnTo>
                    <a:pt x="98" y="715"/>
                  </a:lnTo>
                  <a:lnTo>
                    <a:pt x="80" y="676"/>
                  </a:lnTo>
                  <a:lnTo>
                    <a:pt x="64" y="640"/>
                  </a:lnTo>
                  <a:lnTo>
                    <a:pt x="51" y="606"/>
                  </a:lnTo>
                  <a:lnTo>
                    <a:pt x="39" y="575"/>
                  </a:lnTo>
                  <a:lnTo>
                    <a:pt x="28" y="546"/>
                  </a:lnTo>
                  <a:lnTo>
                    <a:pt x="20" y="521"/>
                  </a:lnTo>
                  <a:lnTo>
                    <a:pt x="13" y="500"/>
                  </a:lnTo>
                  <a:lnTo>
                    <a:pt x="8" y="482"/>
                  </a:lnTo>
                  <a:lnTo>
                    <a:pt x="4" y="471"/>
                  </a:lnTo>
                  <a:lnTo>
                    <a:pt x="2" y="462"/>
                  </a:lnTo>
                  <a:lnTo>
                    <a:pt x="0" y="459"/>
                  </a:lnTo>
                  <a:lnTo>
                    <a:pt x="88" y="374"/>
                  </a:lnTo>
                  <a:lnTo>
                    <a:pt x="174" y="299"/>
                  </a:lnTo>
                  <a:lnTo>
                    <a:pt x="256" y="234"/>
                  </a:lnTo>
                  <a:lnTo>
                    <a:pt x="337" y="177"/>
                  </a:lnTo>
                  <a:lnTo>
                    <a:pt x="415" y="130"/>
                  </a:lnTo>
                  <a:lnTo>
                    <a:pt x="490" y="89"/>
                  </a:lnTo>
                  <a:lnTo>
                    <a:pt x="563" y="58"/>
                  </a:lnTo>
                  <a:lnTo>
                    <a:pt x="635" y="34"/>
                  </a:lnTo>
                  <a:lnTo>
                    <a:pt x="703" y="16"/>
                  </a:lnTo>
                  <a:lnTo>
                    <a:pt x="770" y="4"/>
                  </a:lnTo>
                  <a:lnTo>
                    <a:pt x="834"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5" name="Freeform 29">
              <a:extLst>
                <a:ext uri="{FF2B5EF4-FFF2-40B4-BE49-F238E27FC236}">
                  <a16:creationId xmlns:a16="http://schemas.microsoft.com/office/drawing/2014/main" id="{A533F1FC-C4A1-426A-A8A5-4682E0339475}"/>
                </a:ext>
              </a:extLst>
            </p:cNvPr>
            <p:cNvSpPr>
              <a:spLocks/>
            </p:cNvSpPr>
            <p:nvPr/>
          </p:nvSpPr>
          <p:spPr bwMode="auto">
            <a:xfrm>
              <a:off x="3441387" y="2673089"/>
              <a:ext cx="1031302" cy="656691"/>
            </a:xfrm>
            <a:custGeom>
              <a:avLst/>
              <a:gdLst>
                <a:gd name="T0" fmla="*/ 1174 w 1382"/>
                <a:gd name="T1" fmla="*/ 0 h 880"/>
                <a:gd name="T2" fmla="*/ 1206 w 1382"/>
                <a:gd name="T3" fmla="*/ 52 h 880"/>
                <a:gd name="T4" fmla="*/ 1237 w 1382"/>
                <a:gd name="T5" fmla="*/ 102 h 880"/>
                <a:gd name="T6" fmla="*/ 1265 w 1382"/>
                <a:gd name="T7" fmla="*/ 151 h 880"/>
                <a:gd name="T8" fmla="*/ 1291 w 1382"/>
                <a:gd name="T9" fmla="*/ 199 h 880"/>
                <a:gd name="T10" fmla="*/ 1312 w 1382"/>
                <a:gd name="T11" fmla="*/ 243 h 880"/>
                <a:gd name="T12" fmla="*/ 1332 w 1382"/>
                <a:gd name="T13" fmla="*/ 282 h 880"/>
                <a:gd name="T14" fmla="*/ 1346 w 1382"/>
                <a:gd name="T15" fmla="*/ 317 h 880"/>
                <a:gd name="T16" fmla="*/ 1359 w 1382"/>
                <a:gd name="T17" fmla="*/ 348 h 880"/>
                <a:gd name="T18" fmla="*/ 1369 w 1382"/>
                <a:gd name="T19" fmla="*/ 374 h 880"/>
                <a:gd name="T20" fmla="*/ 1377 w 1382"/>
                <a:gd name="T21" fmla="*/ 392 h 880"/>
                <a:gd name="T22" fmla="*/ 1381 w 1382"/>
                <a:gd name="T23" fmla="*/ 405 h 880"/>
                <a:gd name="T24" fmla="*/ 1382 w 1382"/>
                <a:gd name="T25" fmla="*/ 409 h 880"/>
                <a:gd name="T26" fmla="*/ 1293 w 1382"/>
                <a:gd name="T27" fmla="*/ 490 h 880"/>
                <a:gd name="T28" fmla="*/ 1206 w 1382"/>
                <a:gd name="T29" fmla="*/ 564 h 880"/>
                <a:gd name="T30" fmla="*/ 1122 w 1382"/>
                <a:gd name="T31" fmla="*/ 629 h 880"/>
                <a:gd name="T32" fmla="*/ 1040 w 1382"/>
                <a:gd name="T33" fmla="*/ 684 h 880"/>
                <a:gd name="T34" fmla="*/ 961 w 1382"/>
                <a:gd name="T35" fmla="*/ 733 h 880"/>
                <a:gd name="T36" fmla="*/ 884 w 1382"/>
                <a:gd name="T37" fmla="*/ 774 h 880"/>
                <a:gd name="T38" fmla="*/ 811 w 1382"/>
                <a:gd name="T39" fmla="*/ 808 h 880"/>
                <a:gd name="T40" fmla="*/ 741 w 1382"/>
                <a:gd name="T41" fmla="*/ 834 h 880"/>
                <a:gd name="T42" fmla="*/ 673 w 1382"/>
                <a:gd name="T43" fmla="*/ 855 h 880"/>
                <a:gd name="T44" fmla="*/ 606 w 1382"/>
                <a:gd name="T45" fmla="*/ 870 h 880"/>
                <a:gd name="T46" fmla="*/ 542 w 1382"/>
                <a:gd name="T47" fmla="*/ 878 h 880"/>
                <a:gd name="T48" fmla="*/ 482 w 1382"/>
                <a:gd name="T49" fmla="*/ 880 h 880"/>
                <a:gd name="T50" fmla="*/ 424 w 1382"/>
                <a:gd name="T51" fmla="*/ 878 h 880"/>
                <a:gd name="T52" fmla="*/ 367 w 1382"/>
                <a:gd name="T53" fmla="*/ 872 h 880"/>
                <a:gd name="T54" fmla="*/ 313 w 1382"/>
                <a:gd name="T55" fmla="*/ 860 h 880"/>
                <a:gd name="T56" fmla="*/ 262 w 1382"/>
                <a:gd name="T57" fmla="*/ 844 h 880"/>
                <a:gd name="T58" fmla="*/ 214 w 1382"/>
                <a:gd name="T59" fmla="*/ 824 h 880"/>
                <a:gd name="T60" fmla="*/ 166 w 1382"/>
                <a:gd name="T61" fmla="*/ 800 h 880"/>
                <a:gd name="T62" fmla="*/ 122 w 1382"/>
                <a:gd name="T63" fmla="*/ 774 h 880"/>
                <a:gd name="T64" fmla="*/ 79 w 1382"/>
                <a:gd name="T65" fmla="*/ 744 h 880"/>
                <a:gd name="T66" fmla="*/ 39 w 1382"/>
                <a:gd name="T67" fmla="*/ 712 h 880"/>
                <a:gd name="T68" fmla="*/ 0 w 1382"/>
                <a:gd name="T69" fmla="*/ 678 h 880"/>
                <a:gd name="T70" fmla="*/ 80 w 1382"/>
                <a:gd name="T71" fmla="*/ 700 h 880"/>
                <a:gd name="T72" fmla="*/ 158 w 1382"/>
                <a:gd name="T73" fmla="*/ 713 h 880"/>
                <a:gd name="T74" fmla="*/ 233 w 1382"/>
                <a:gd name="T75" fmla="*/ 715 h 880"/>
                <a:gd name="T76" fmla="*/ 308 w 1382"/>
                <a:gd name="T77" fmla="*/ 709 h 880"/>
                <a:gd name="T78" fmla="*/ 381 w 1382"/>
                <a:gd name="T79" fmla="*/ 694 h 880"/>
                <a:gd name="T80" fmla="*/ 451 w 1382"/>
                <a:gd name="T81" fmla="*/ 671 h 880"/>
                <a:gd name="T82" fmla="*/ 521 w 1382"/>
                <a:gd name="T83" fmla="*/ 642 h 880"/>
                <a:gd name="T84" fmla="*/ 588 w 1382"/>
                <a:gd name="T85" fmla="*/ 606 h 880"/>
                <a:gd name="T86" fmla="*/ 651 w 1382"/>
                <a:gd name="T87" fmla="*/ 565 h 880"/>
                <a:gd name="T88" fmla="*/ 713 w 1382"/>
                <a:gd name="T89" fmla="*/ 521 h 880"/>
                <a:gd name="T90" fmla="*/ 772 w 1382"/>
                <a:gd name="T91" fmla="*/ 474 h 880"/>
                <a:gd name="T92" fmla="*/ 827 w 1382"/>
                <a:gd name="T93" fmla="*/ 423 h 880"/>
                <a:gd name="T94" fmla="*/ 881 w 1382"/>
                <a:gd name="T95" fmla="*/ 371 h 880"/>
                <a:gd name="T96" fmla="*/ 930 w 1382"/>
                <a:gd name="T97" fmla="*/ 319 h 880"/>
                <a:gd name="T98" fmla="*/ 977 w 1382"/>
                <a:gd name="T99" fmla="*/ 267 h 880"/>
                <a:gd name="T100" fmla="*/ 1019 w 1382"/>
                <a:gd name="T101" fmla="*/ 215 h 880"/>
                <a:gd name="T102" fmla="*/ 1058 w 1382"/>
                <a:gd name="T103" fmla="*/ 166 h 880"/>
                <a:gd name="T104" fmla="*/ 1093 w 1382"/>
                <a:gd name="T105" fmla="*/ 119 h 880"/>
                <a:gd name="T106" fmla="*/ 1123 w 1382"/>
                <a:gd name="T107" fmla="*/ 75 h 880"/>
                <a:gd name="T108" fmla="*/ 1151 w 1382"/>
                <a:gd name="T109" fmla="*/ 36 h 880"/>
                <a:gd name="T110" fmla="*/ 1174 w 1382"/>
                <a:gd name="T111"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2" h="880">
                  <a:moveTo>
                    <a:pt x="1174" y="0"/>
                  </a:moveTo>
                  <a:lnTo>
                    <a:pt x="1206" y="52"/>
                  </a:lnTo>
                  <a:lnTo>
                    <a:pt x="1237" y="102"/>
                  </a:lnTo>
                  <a:lnTo>
                    <a:pt x="1265" y="151"/>
                  </a:lnTo>
                  <a:lnTo>
                    <a:pt x="1291" y="199"/>
                  </a:lnTo>
                  <a:lnTo>
                    <a:pt x="1312" y="243"/>
                  </a:lnTo>
                  <a:lnTo>
                    <a:pt x="1332" y="282"/>
                  </a:lnTo>
                  <a:lnTo>
                    <a:pt x="1346" y="317"/>
                  </a:lnTo>
                  <a:lnTo>
                    <a:pt x="1359" y="348"/>
                  </a:lnTo>
                  <a:lnTo>
                    <a:pt x="1369" y="374"/>
                  </a:lnTo>
                  <a:lnTo>
                    <a:pt x="1377" y="392"/>
                  </a:lnTo>
                  <a:lnTo>
                    <a:pt x="1381" y="405"/>
                  </a:lnTo>
                  <a:lnTo>
                    <a:pt x="1382" y="409"/>
                  </a:lnTo>
                  <a:lnTo>
                    <a:pt x="1293" y="490"/>
                  </a:lnTo>
                  <a:lnTo>
                    <a:pt x="1206" y="564"/>
                  </a:lnTo>
                  <a:lnTo>
                    <a:pt x="1122" y="629"/>
                  </a:lnTo>
                  <a:lnTo>
                    <a:pt x="1040" y="684"/>
                  </a:lnTo>
                  <a:lnTo>
                    <a:pt x="961" y="733"/>
                  </a:lnTo>
                  <a:lnTo>
                    <a:pt x="884" y="774"/>
                  </a:lnTo>
                  <a:lnTo>
                    <a:pt x="811" y="808"/>
                  </a:lnTo>
                  <a:lnTo>
                    <a:pt x="741" y="834"/>
                  </a:lnTo>
                  <a:lnTo>
                    <a:pt x="673" y="855"/>
                  </a:lnTo>
                  <a:lnTo>
                    <a:pt x="606" y="870"/>
                  </a:lnTo>
                  <a:lnTo>
                    <a:pt x="542" y="878"/>
                  </a:lnTo>
                  <a:lnTo>
                    <a:pt x="482" y="880"/>
                  </a:lnTo>
                  <a:lnTo>
                    <a:pt x="424" y="878"/>
                  </a:lnTo>
                  <a:lnTo>
                    <a:pt x="367" y="872"/>
                  </a:lnTo>
                  <a:lnTo>
                    <a:pt x="313" y="860"/>
                  </a:lnTo>
                  <a:lnTo>
                    <a:pt x="262" y="844"/>
                  </a:lnTo>
                  <a:lnTo>
                    <a:pt x="214" y="824"/>
                  </a:lnTo>
                  <a:lnTo>
                    <a:pt x="166" y="800"/>
                  </a:lnTo>
                  <a:lnTo>
                    <a:pt x="122" y="774"/>
                  </a:lnTo>
                  <a:lnTo>
                    <a:pt x="79" y="744"/>
                  </a:lnTo>
                  <a:lnTo>
                    <a:pt x="39" y="712"/>
                  </a:lnTo>
                  <a:lnTo>
                    <a:pt x="0" y="678"/>
                  </a:lnTo>
                  <a:lnTo>
                    <a:pt x="80" y="700"/>
                  </a:lnTo>
                  <a:lnTo>
                    <a:pt x="158" y="713"/>
                  </a:lnTo>
                  <a:lnTo>
                    <a:pt x="233" y="715"/>
                  </a:lnTo>
                  <a:lnTo>
                    <a:pt x="308" y="709"/>
                  </a:lnTo>
                  <a:lnTo>
                    <a:pt x="381" y="694"/>
                  </a:lnTo>
                  <a:lnTo>
                    <a:pt x="451" y="671"/>
                  </a:lnTo>
                  <a:lnTo>
                    <a:pt x="521" y="642"/>
                  </a:lnTo>
                  <a:lnTo>
                    <a:pt x="588" y="606"/>
                  </a:lnTo>
                  <a:lnTo>
                    <a:pt x="651" y="565"/>
                  </a:lnTo>
                  <a:lnTo>
                    <a:pt x="713" y="521"/>
                  </a:lnTo>
                  <a:lnTo>
                    <a:pt x="772" y="474"/>
                  </a:lnTo>
                  <a:lnTo>
                    <a:pt x="827" y="423"/>
                  </a:lnTo>
                  <a:lnTo>
                    <a:pt x="881" y="371"/>
                  </a:lnTo>
                  <a:lnTo>
                    <a:pt x="930" y="319"/>
                  </a:lnTo>
                  <a:lnTo>
                    <a:pt x="977" y="267"/>
                  </a:lnTo>
                  <a:lnTo>
                    <a:pt x="1019" y="215"/>
                  </a:lnTo>
                  <a:lnTo>
                    <a:pt x="1058" y="166"/>
                  </a:lnTo>
                  <a:lnTo>
                    <a:pt x="1093" y="119"/>
                  </a:lnTo>
                  <a:lnTo>
                    <a:pt x="1123" y="75"/>
                  </a:lnTo>
                  <a:lnTo>
                    <a:pt x="1151" y="36"/>
                  </a:lnTo>
                  <a:lnTo>
                    <a:pt x="1174"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6" name="Group 19">
            <a:extLst>
              <a:ext uri="{FF2B5EF4-FFF2-40B4-BE49-F238E27FC236}">
                <a16:creationId xmlns:a16="http://schemas.microsoft.com/office/drawing/2014/main" id="{DB2ABD64-043E-4C85-8065-6885E7FEED78}"/>
              </a:ext>
            </a:extLst>
          </p:cNvPr>
          <p:cNvGrpSpPr/>
          <p:nvPr/>
        </p:nvGrpSpPr>
        <p:grpSpPr>
          <a:xfrm>
            <a:off x="3872321" y="2051469"/>
            <a:ext cx="826832" cy="817879"/>
            <a:chOff x="3772717" y="1510449"/>
            <a:chExt cx="826832" cy="817879"/>
          </a:xfrm>
        </p:grpSpPr>
        <p:sp>
          <p:nvSpPr>
            <p:cNvPr id="17" name="Freeform 23">
              <a:extLst>
                <a:ext uri="{FF2B5EF4-FFF2-40B4-BE49-F238E27FC236}">
                  <a16:creationId xmlns:a16="http://schemas.microsoft.com/office/drawing/2014/main" id="{6BCD5293-E63A-44A7-B938-EE0A983DEBC0}"/>
                </a:ext>
              </a:extLst>
            </p:cNvPr>
            <p:cNvSpPr>
              <a:spLocks/>
            </p:cNvSpPr>
            <p:nvPr/>
          </p:nvSpPr>
          <p:spPr bwMode="auto">
            <a:xfrm>
              <a:off x="3772717" y="1510449"/>
              <a:ext cx="825340" cy="817878"/>
            </a:xfrm>
            <a:custGeom>
              <a:avLst/>
              <a:gdLst>
                <a:gd name="T0" fmla="*/ 491 w 1107"/>
                <a:gd name="T1" fmla="*/ 1 h 1095"/>
                <a:gd name="T2" fmla="*/ 626 w 1107"/>
                <a:gd name="T3" fmla="*/ 21 h 1095"/>
                <a:gd name="T4" fmla="*/ 740 w 1107"/>
                <a:gd name="T5" fmla="*/ 57 h 1095"/>
                <a:gd name="T6" fmla="*/ 836 w 1107"/>
                <a:gd name="T7" fmla="*/ 107 h 1095"/>
                <a:gd name="T8" fmla="*/ 914 w 1107"/>
                <a:gd name="T9" fmla="*/ 171 h 1095"/>
                <a:gd name="T10" fmla="*/ 976 w 1107"/>
                <a:gd name="T11" fmla="*/ 244 h 1095"/>
                <a:gd name="T12" fmla="*/ 1024 w 1107"/>
                <a:gd name="T13" fmla="*/ 326 h 1095"/>
                <a:gd name="T14" fmla="*/ 1059 w 1107"/>
                <a:gd name="T15" fmla="*/ 414 h 1095"/>
                <a:gd name="T16" fmla="*/ 1084 w 1107"/>
                <a:gd name="T17" fmla="*/ 503 h 1095"/>
                <a:gd name="T18" fmla="*/ 1098 w 1107"/>
                <a:gd name="T19" fmla="*/ 593 h 1095"/>
                <a:gd name="T20" fmla="*/ 1107 w 1107"/>
                <a:gd name="T21" fmla="*/ 683 h 1095"/>
                <a:gd name="T22" fmla="*/ 1107 w 1107"/>
                <a:gd name="T23" fmla="*/ 767 h 1095"/>
                <a:gd name="T24" fmla="*/ 1103 w 1107"/>
                <a:gd name="T25" fmla="*/ 846 h 1095"/>
                <a:gd name="T26" fmla="*/ 1097 w 1107"/>
                <a:gd name="T27" fmla="*/ 914 h 1095"/>
                <a:gd name="T28" fmla="*/ 1089 w 1107"/>
                <a:gd name="T29" fmla="*/ 973 h 1095"/>
                <a:gd name="T30" fmla="*/ 1082 w 1107"/>
                <a:gd name="T31" fmla="*/ 1017 h 1095"/>
                <a:gd name="T32" fmla="*/ 1076 w 1107"/>
                <a:gd name="T33" fmla="*/ 1046 h 1095"/>
                <a:gd name="T34" fmla="*/ 1074 w 1107"/>
                <a:gd name="T35" fmla="*/ 1056 h 1095"/>
                <a:gd name="T36" fmla="*/ 872 w 1107"/>
                <a:gd name="T37" fmla="*/ 1087 h 1095"/>
                <a:gd name="T38" fmla="*/ 698 w 1107"/>
                <a:gd name="T39" fmla="*/ 1095 h 1095"/>
                <a:gd name="T40" fmla="*/ 547 w 1107"/>
                <a:gd name="T41" fmla="*/ 1085 h 1095"/>
                <a:gd name="T42" fmla="*/ 418 w 1107"/>
                <a:gd name="T43" fmla="*/ 1057 h 1095"/>
                <a:gd name="T44" fmla="*/ 311 w 1107"/>
                <a:gd name="T45" fmla="*/ 1015 h 1095"/>
                <a:gd name="T46" fmla="*/ 223 w 1107"/>
                <a:gd name="T47" fmla="*/ 961 h 1095"/>
                <a:gd name="T48" fmla="*/ 153 w 1107"/>
                <a:gd name="T49" fmla="*/ 894 h 1095"/>
                <a:gd name="T50" fmla="*/ 97 w 1107"/>
                <a:gd name="T51" fmla="*/ 821 h 1095"/>
                <a:gd name="T52" fmla="*/ 57 w 1107"/>
                <a:gd name="T53" fmla="*/ 740 h 1095"/>
                <a:gd name="T54" fmla="*/ 27 w 1107"/>
                <a:gd name="T55" fmla="*/ 655 h 1095"/>
                <a:gd name="T56" fmla="*/ 9 w 1107"/>
                <a:gd name="T57" fmla="*/ 569 h 1095"/>
                <a:gd name="T58" fmla="*/ 1 w 1107"/>
                <a:gd name="T59" fmla="*/ 482 h 1095"/>
                <a:gd name="T60" fmla="*/ 0 w 1107"/>
                <a:gd name="T61" fmla="*/ 397 h 1095"/>
                <a:gd name="T62" fmla="*/ 5 w 1107"/>
                <a:gd name="T63" fmla="*/ 318 h 1095"/>
                <a:gd name="T64" fmla="*/ 13 w 1107"/>
                <a:gd name="T65" fmla="*/ 243 h 1095"/>
                <a:gd name="T66" fmla="*/ 23 w 1107"/>
                <a:gd name="T67" fmla="*/ 177 h 1095"/>
                <a:gd name="T68" fmla="*/ 34 w 1107"/>
                <a:gd name="T69" fmla="*/ 124 h 1095"/>
                <a:gd name="T70" fmla="*/ 44 w 1107"/>
                <a:gd name="T71" fmla="*/ 83 h 1095"/>
                <a:gd name="T72" fmla="*/ 52 w 1107"/>
                <a:gd name="T73" fmla="*/ 55 h 1095"/>
                <a:gd name="T74" fmla="*/ 53 w 1107"/>
                <a:gd name="T75" fmla="*/ 47 h 1095"/>
                <a:gd name="T76" fmla="*/ 247 w 1107"/>
                <a:gd name="T77" fmla="*/ 11 h 1095"/>
                <a:gd name="T78" fmla="*/ 416 w 1107"/>
                <a:gd name="T79" fmla="*/ 0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7" h="1095">
                  <a:moveTo>
                    <a:pt x="416" y="0"/>
                  </a:moveTo>
                  <a:lnTo>
                    <a:pt x="491" y="1"/>
                  </a:lnTo>
                  <a:lnTo>
                    <a:pt x="561" y="8"/>
                  </a:lnTo>
                  <a:lnTo>
                    <a:pt x="626" y="21"/>
                  </a:lnTo>
                  <a:lnTo>
                    <a:pt x="687" y="36"/>
                  </a:lnTo>
                  <a:lnTo>
                    <a:pt x="740" y="57"/>
                  </a:lnTo>
                  <a:lnTo>
                    <a:pt x="791" y="80"/>
                  </a:lnTo>
                  <a:lnTo>
                    <a:pt x="836" y="107"/>
                  </a:lnTo>
                  <a:lnTo>
                    <a:pt x="877" y="138"/>
                  </a:lnTo>
                  <a:lnTo>
                    <a:pt x="914" y="171"/>
                  </a:lnTo>
                  <a:lnTo>
                    <a:pt x="947" y="207"/>
                  </a:lnTo>
                  <a:lnTo>
                    <a:pt x="976" y="244"/>
                  </a:lnTo>
                  <a:lnTo>
                    <a:pt x="1002" y="285"/>
                  </a:lnTo>
                  <a:lnTo>
                    <a:pt x="1024" y="326"/>
                  </a:lnTo>
                  <a:lnTo>
                    <a:pt x="1043" y="370"/>
                  </a:lnTo>
                  <a:lnTo>
                    <a:pt x="1059" y="414"/>
                  </a:lnTo>
                  <a:lnTo>
                    <a:pt x="1072" y="458"/>
                  </a:lnTo>
                  <a:lnTo>
                    <a:pt x="1084" y="503"/>
                  </a:lnTo>
                  <a:lnTo>
                    <a:pt x="1092" y="549"/>
                  </a:lnTo>
                  <a:lnTo>
                    <a:pt x="1098" y="593"/>
                  </a:lnTo>
                  <a:lnTo>
                    <a:pt x="1103" y="639"/>
                  </a:lnTo>
                  <a:lnTo>
                    <a:pt x="1107" y="683"/>
                  </a:lnTo>
                  <a:lnTo>
                    <a:pt x="1107" y="725"/>
                  </a:lnTo>
                  <a:lnTo>
                    <a:pt x="1107" y="767"/>
                  </a:lnTo>
                  <a:lnTo>
                    <a:pt x="1107" y="806"/>
                  </a:lnTo>
                  <a:lnTo>
                    <a:pt x="1103" y="846"/>
                  </a:lnTo>
                  <a:lnTo>
                    <a:pt x="1100" y="881"/>
                  </a:lnTo>
                  <a:lnTo>
                    <a:pt x="1097" y="914"/>
                  </a:lnTo>
                  <a:lnTo>
                    <a:pt x="1094" y="945"/>
                  </a:lnTo>
                  <a:lnTo>
                    <a:pt x="1089" y="973"/>
                  </a:lnTo>
                  <a:lnTo>
                    <a:pt x="1085" y="997"/>
                  </a:lnTo>
                  <a:lnTo>
                    <a:pt x="1082" y="1017"/>
                  </a:lnTo>
                  <a:lnTo>
                    <a:pt x="1079" y="1033"/>
                  </a:lnTo>
                  <a:lnTo>
                    <a:pt x="1076" y="1046"/>
                  </a:lnTo>
                  <a:lnTo>
                    <a:pt x="1074" y="1053"/>
                  </a:lnTo>
                  <a:lnTo>
                    <a:pt x="1074" y="1056"/>
                  </a:lnTo>
                  <a:lnTo>
                    <a:pt x="970" y="1074"/>
                  </a:lnTo>
                  <a:lnTo>
                    <a:pt x="872" y="1087"/>
                  </a:lnTo>
                  <a:lnTo>
                    <a:pt x="783" y="1093"/>
                  </a:lnTo>
                  <a:lnTo>
                    <a:pt x="698" y="1095"/>
                  </a:lnTo>
                  <a:lnTo>
                    <a:pt x="620" y="1092"/>
                  </a:lnTo>
                  <a:lnTo>
                    <a:pt x="547" y="1085"/>
                  </a:lnTo>
                  <a:lnTo>
                    <a:pt x="480" y="1074"/>
                  </a:lnTo>
                  <a:lnTo>
                    <a:pt x="418" y="1057"/>
                  </a:lnTo>
                  <a:lnTo>
                    <a:pt x="363" y="1038"/>
                  </a:lnTo>
                  <a:lnTo>
                    <a:pt x="311" y="1015"/>
                  </a:lnTo>
                  <a:lnTo>
                    <a:pt x="265" y="989"/>
                  </a:lnTo>
                  <a:lnTo>
                    <a:pt x="223" y="961"/>
                  </a:lnTo>
                  <a:lnTo>
                    <a:pt x="185" y="929"/>
                  </a:lnTo>
                  <a:lnTo>
                    <a:pt x="153" y="894"/>
                  </a:lnTo>
                  <a:lnTo>
                    <a:pt x="123" y="859"/>
                  </a:lnTo>
                  <a:lnTo>
                    <a:pt x="97" y="821"/>
                  </a:lnTo>
                  <a:lnTo>
                    <a:pt x="75" y="782"/>
                  </a:lnTo>
                  <a:lnTo>
                    <a:pt x="57" y="740"/>
                  </a:lnTo>
                  <a:lnTo>
                    <a:pt x="40" y="699"/>
                  </a:lnTo>
                  <a:lnTo>
                    <a:pt x="27" y="655"/>
                  </a:lnTo>
                  <a:lnTo>
                    <a:pt x="18" y="613"/>
                  </a:lnTo>
                  <a:lnTo>
                    <a:pt x="9" y="569"/>
                  </a:lnTo>
                  <a:lnTo>
                    <a:pt x="5" y="525"/>
                  </a:lnTo>
                  <a:lnTo>
                    <a:pt x="1" y="482"/>
                  </a:lnTo>
                  <a:lnTo>
                    <a:pt x="0" y="440"/>
                  </a:lnTo>
                  <a:lnTo>
                    <a:pt x="0" y="397"/>
                  </a:lnTo>
                  <a:lnTo>
                    <a:pt x="1" y="357"/>
                  </a:lnTo>
                  <a:lnTo>
                    <a:pt x="5" y="318"/>
                  </a:lnTo>
                  <a:lnTo>
                    <a:pt x="8" y="280"/>
                  </a:lnTo>
                  <a:lnTo>
                    <a:pt x="13" y="243"/>
                  </a:lnTo>
                  <a:lnTo>
                    <a:pt x="18" y="210"/>
                  </a:lnTo>
                  <a:lnTo>
                    <a:pt x="23" y="177"/>
                  </a:lnTo>
                  <a:lnTo>
                    <a:pt x="29" y="150"/>
                  </a:lnTo>
                  <a:lnTo>
                    <a:pt x="34" y="124"/>
                  </a:lnTo>
                  <a:lnTo>
                    <a:pt x="39" y="101"/>
                  </a:lnTo>
                  <a:lnTo>
                    <a:pt x="44" y="83"/>
                  </a:lnTo>
                  <a:lnTo>
                    <a:pt x="49" y="67"/>
                  </a:lnTo>
                  <a:lnTo>
                    <a:pt x="52" y="55"/>
                  </a:lnTo>
                  <a:lnTo>
                    <a:pt x="53" y="49"/>
                  </a:lnTo>
                  <a:lnTo>
                    <a:pt x="53" y="47"/>
                  </a:lnTo>
                  <a:lnTo>
                    <a:pt x="154" y="26"/>
                  </a:lnTo>
                  <a:lnTo>
                    <a:pt x="247" y="11"/>
                  </a:lnTo>
                  <a:lnTo>
                    <a:pt x="335" y="3"/>
                  </a:lnTo>
                  <a:lnTo>
                    <a:pt x="416"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8" name="Freeform 30">
              <a:extLst>
                <a:ext uri="{FF2B5EF4-FFF2-40B4-BE49-F238E27FC236}">
                  <a16:creationId xmlns:a16="http://schemas.microsoft.com/office/drawing/2014/main" id="{42368D32-968E-451E-8AB8-D34E85241E7B}"/>
                </a:ext>
              </a:extLst>
            </p:cNvPr>
            <p:cNvSpPr>
              <a:spLocks/>
            </p:cNvSpPr>
            <p:nvPr/>
          </p:nvSpPr>
          <p:spPr bwMode="auto">
            <a:xfrm>
              <a:off x="4226429" y="1523881"/>
              <a:ext cx="373120" cy="804447"/>
            </a:xfrm>
            <a:custGeom>
              <a:avLst/>
              <a:gdLst>
                <a:gd name="T0" fmla="*/ 0 w 500"/>
                <a:gd name="T1" fmla="*/ 0 h 1079"/>
                <a:gd name="T2" fmla="*/ 70 w 500"/>
                <a:gd name="T3" fmla="*/ 18 h 1079"/>
                <a:gd name="T4" fmla="*/ 134 w 500"/>
                <a:gd name="T5" fmla="*/ 41 h 1079"/>
                <a:gd name="T6" fmla="*/ 191 w 500"/>
                <a:gd name="T7" fmla="*/ 69 h 1079"/>
                <a:gd name="T8" fmla="*/ 241 w 500"/>
                <a:gd name="T9" fmla="*/ 101 h 1079"/>
                <a:gd name="T10" fmla="*/ 287 w 500"/>
                <a:gd name="T11" fmla="*/ 137 h 1079"/>
                <a:gd name="T12" fmla="*/ 328 w 500"/>
                <a:gd name="T13" fmla="*/ 178 h 1079"/>
                <a:gd name="T14" fmla="*/ 362 w 500"/>
                <a:gd name="T15" fmla="*/ 220 h 1079"/>
                <a:gd name="T16" fmla="*/ 393 w 500"/>
                <a:gd name="T17" fmla="*/ 266 h 1079"/>
                <a:gd name="T18" fmla="*/ 419 w 500"/>
                <a:gd name="T19" fmla="*/ 315 h 1079"/>
                <a:gd name="T20" fmla="*/ 440 w 500"/>
                <a:gd name="T21" fmla="*/ 364 h 1079"/>
                <a:gd name="T22" fmla="*/ 458 w 500"/>
                <a:gd name="T23" fmla="*/ 414 h 1079"/>
                <a:gd name="T24" fmla="*/ 471 w 500"/>
                <a:gd name="T25" fmla="*/ 466 h 1079"/>
                <a:gd name="T26" fmla="*/ 482 w 500"/>
                <a:gd name="T27" fmla="*/ 518 h 1079"/>
                <a:gd name="T28" fmla="*/ 490 w 500"/>
                <a:gd name="T29" fmla="*/ 570 h 1079"/>
                <a:gd name="T30" fmla="*/ 495 w 500"/>
                <a:gd name="T31" fmla="*/ 623 h 1079"/>
                <a:gd name="T32" fmla="*/ 499 w 500"/>
                <a:gd name="T33" fmla="*/ 673 h 1079"/>
                <a:gd name="T34" fmla="*/ 500 w 500"/>
                <a:gd name="T35" fmla="*/ 722 h 1079"/>
                <a:gd name="T36" fmla="*/ 499 w 500"/>
                <a:gd name="T37" fmla="*/ 771 h 1079"/>
                <a:gd name="T38" fmla="*/ 497 w 500"/>
                <a:gd name="T39" fmla="*/ 815 h 1079"/>
                <a:gd name="T40" fmla="*/ 494 w 500"/>
                <a:gd name="T41" fmla="*/ 857 h 1079"/>
                <a:gd name="T42" fmla="*/ 489 w 500"/>
                <a:gd name="T43" fmla="*/ 896 h 1079"/>
                <a:gd name="T44" fmla="*/ 486 w 500"/>
                <a:gd name="T45" fmla="*/ 932 h 1079"/>
                <a:gd name="T46" fmla="*/ 481 w 500"/>
                <a:gd name="T47" fmla="*/ 963 h 1079"/>
                <a:gd name="T48" fmla="*/ 476 w 500"/>
                <a:gd name="T49" fmla="*/ 989 h 1079"/>
                <a:gd name="T50" fmla="*/ 472 w 500"/>
                <a:gd name="T51" fmla="*/ 1010 h 1079"/>
                <a:gd name="T52" fmla="*/ 469 w 500"/>
                <a:gd name="T53" fmla="*/ 1027 h 1079"/>
                <a:gd name="T54" fmla="*/ 466 w 500"/>
                <a:gd name="T55" fmla="*/ 1037 h 1079"/>
                <a:gd name="T56" fmla="*/ 466 w 500"/>
                <a:gd name="T57" fmla="*/ 1040 h 1079"/>
                <a:gd name="T58" fmla="*/ 370 w 500"/>
                <a:gd name="T59" fmla="*/ 1056 h 1079"/>
                <a:gd name="T60" fmla="*/ 280 w 500"/>
                <a:gd name="T61" fmla="*/ 1069 h 1079"/>
                <a:gd name="T62" fmla="*/ 196 w 500"/>
                <a:gd name="T63" fmla="*/ 1076 h 1079"/>
                <a:gd name="T64" fmla="*/ 116 w 500"/>
                <a:gd name="T65" fmla="*/ 1079 h 1079"/>
                <a:gd name="T66" fmla="*/ 43 w 500"/>
                <a:gd name="T67" fmla="*/ 1077 h 1079"/>
                <a:gd name="T68" fmla="*/ 56 w 500"/>
                <a:gd name="T69" fmla="*/ 1045 h 1079"/>
                <a:gd name="T70" fmla="*/ 69 w 500"/>
                <a:gd name="T71" fmla="*/ 1007 h 1079"/>
                <a:gd name="T72" fmla="*/ 83 w 500"/>
                <a:gd name="T73" fmla="*/ 966 h 1079"/>
                <a:gd name="T74" fmla="*/ 98 w 500"/>
                <a:gd name="T75" fmla="*/ 919 h 1079"/>
                <a:gd name="T76" fmla="*/ 113 w 500"/>
                <a:gd name="T77" fmla="*/ 870 h 1079"/>
                <a:gd name="T78" fmla="*/ 127 w 500"/>
                <a:gd name="T79" fmla="*/ 818 h 1079"/>
                <a:gd name="T80" fmla="*/ 140 w 500"/>
                <a:gd name="T81" fmla="*/ 763 h 1079"/>
                <a:gd name="T82" fmla="*/ 152 w 500"/>
                <a:gd name="T83" fmla="*/ 706 h 1079"/>
                <a:gd name="T84" fmla="*/ 163 w 500"/>
                <a:gd name="T85" fmla="*/ 647 h 1079"/>
                <a:gd name="T86" fmla="*/ 171 w 500"/>
                <a:gd name="T87" fmla="*/ 587 h 1079"/>
                <a:gd name="T88" fmla="*/ 176 w 500"/>
                <a:gd name="T89" fmla="*/ 526 h 1079"/>
                <a:gd name="T90" fmla="*/ 180 w 500"/>
                <a:gd name="T91" fmla="*/ 466 h 1079"/>
                <a:gd name="T92" fmla="*/ 180 w 500"/>
                <a:gd name="T93" fmla="*/ 406 h 1079"/>
                <a:gd name="T94" fmla="*/ 175 w 500"/>
                <a:gd name="T95" fmla="*/ 347 h 1079"/>
                <a:gd name="T96" fmla="*/ 165 w 500"/>
                <a:gd name="T97" fmla="*/ 289 h 1079"/>
                <a:gd name="T98" fmla="*/ 152 w 500"/>
                <a:gd name="T99" fmla="*/ 233 h 1079"/>
                <a:gd name="T100" fmla="*/ 134 w 500"/>
                <a:gd name="T101" fmla="*/ 179 h 1079"/>
                <a:gd name="T102" fmla="*/ 110 w 500"/>
                <a:gd name="T103" fmla="*/ 129 h 1079"/>
                <a:gd name="T104" fmla="*/ 80 w 500"/>
                <a:gd name="T105" fmla="*/ 83 h 1079"/>
                <a:gd name="T106" fmla="*/ 43 w 500"/>
                <a:gd name="T107" fmla="*/ 39 h 1079"/>
                <a:gd name="T108" fmla="*/ 0 w 500"/>
                <a:gd name="T109" fmla="*/ 0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0" h="1079">
                  <a:moveTo>
                    <a:pt x="0" y="0"/>
                  </a:moveTo>
                  <a:lnTo>
                    <a:pt x="70" y="18"/>
                  </a:lnTo>
                  <a:lnTo>
                    <a:pt x="134" y="41"/>
                  </a:lnTo>
                  <a:lnTo>
                    <a:pt x="191" y="69"/>
                  </a:lnTo>
                  <a:lnTo>
                    <a:pt x="241" y="101"/>
                  </a:lnTo>
                  <a:lnTo>
                    <a:pt x="287" y="137"/>
                  </a:lnTo>
                  <a:lnTo>
                    <a:pt x="328" y="178"/>
                  </a:lnTo>
                  <a:lnTo>
                    <a:pt x="362" y="220"/>
                  </a:lnTo>
                  <a:lnTo>
                    <a:pt x="393" y="266"/>
                  </a:lnTo>
                  <a:lnTo>
                    <a:pt x="419" y="315"/>
                  </a:lnTo>
                  <a:lnTo>
                    <a:pt x="440" y="364"/>
                  </a:lnTo>
                  <a:lnTo>
                    <a:pt x="458" y="414"/>
                  </a:lnTo>
                  <a:lnTo>
                    <a:pt x="471" y="466"/>
                  </a:lnTo>
                  <a:lnTo>
                    <a:pt x="482" y="518"/>
                  </a:lnTo>
                  <a:lnTo>
                    <a:pt x="490" y="570"/>
                  </a:lnTo>
                  <a:lnTo>
                    <a:pt x="495" y="623"/>
                  </a:lnTo>
                  <a:lnTo>
                    <a:pt x="499" y="673"/>
                  </a:lnTo>
                  <a:lnTo>
                    <a:pt x="500" y="722"/>
                  </a:lnTo>
                  <a:lnTo>
                    <a:pt x="499" y="771"/>
                  </a:lnTo>
                  <a:lnTo>
                    <a:pt x="497" y="815"/>
                  </a:lnTo>
                  <a:lnTo>
                    <a:pt x="494" y="857"/>
                  </a:lnTo>
                  <a:lnTo>
                    <a:pt x="489" y="896"/>
                  </a:lnTo>
                  <a:lnTo>
                    <a:pt x="486" y="932"/>
                  </a:lnTo>
                  <a:lnTo>
                    <a:pt x="481" y="963"/>
                  </a:lnTo>
                  <a:lnTo>
                    <a:pt x="476" y="989"/>
                  </a:lnTo>
                  <a:lnTo>
                    <a:pt x="472" y="1010"/>
                  </a:lnTo>
                  <a:lnTo>
                    <a:pt x="469" y="1027"/>
                  </a:lnTo>
                  <a:lnTo>
                    <a:pt x="466" y="1037"/>
                  </a:lnTo>
                  <a:lnTo>
                    <a:pt x="466" y="1040"/>
                  </a:lnTo>
                  <a:lnTo>
                    <a:pt x="370" y="1056"/>
                  </a:lnTo>
                  <a:lnTo>
                    <a:pt x="280" y="1069"/>
                  </a:lnTo>
                  <a:lnTo>
                    <a:pt x="196" y="1076"/>
                  </a:lnTo>
                  <a:lnTo>
                    <a:pt x="116" y="1079"/>
                  </a:lnTo>
                  <a:lnTo>
                    <a:pt x="43" y="1077"/>
                  </a:lnTo>
                  <a:lnTo>
                    <a:pt x="56" y="1045"/>
                  </a:lnTo>
                  <a:lnTo>
                    <a:pt x="69" y="1007"/>
                  </a:lnTo>
                  <a:lnTo>
                    <a:pt x="83" y="966"/>
                  </a:lnTo>
                  <a:lnTo>
                    <a:pt x="98" y="919"/>
                  </a:lnTo>
                  <a:lnTo>
                    <a:pt x="113" y="870"/>
                  </a:lnTo>
                  <a:lnTo>
                    <a:pt x="127" y="818"/>
                  </a:lnTo>
                  <a:lnTo>
                    <a:pt x="140" y="763"/>
                  </a:lnTo>
                  <a:lnTo>
                    <a:pt x="152" y="706"/>
                  </a:lnTo>
                  <a:lnTo>
                    <a:pt x="163" y="647"/>
                  </a:lnTo>
                  <a:lnTo>
                    <a:pt x="171" y="587"/>
                  </a:lnTo>
                  <a:lnTo>
                    <a:pt x="176" y="526"/>
                  </a:lnTo>
                  <a:lnTo>
                    <a:pt x="180" y="466"/>
                  </a:lnTo>
                  <a:lnTo>
                    <a:pt x="180" y="406"/>
                  </a:lnTo>
                  <a:lnTo>
                    <a:pt x="175" y="347"/>
                  </a:lnTo>
                  <a:lnTo>
                    <a:pt x="165" y="289"/>
                  </a:lnTo>
                  <a:lnTo>
                    <a:pt x="152" y="233"/>
                  </a:lnTo>
                  <a:lnTo>
                    <a:pt x="134" y="179"/>
                  </a:lnTo>
                  <a:lnTo>
                    <a:pt x="110" y="129"/>
                  </a:lnTo>
                  <a:lnTo>
                    <a:pt x="80" y="83"/>
                  </a:lnTo>
                  <a:lnTo>
                    <a:pt x="43" y="39"/>
                  </a:lnTo>
                  <a:lnTo>
                    <a:pt x="0"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9" name="Group 4">
            <a:extLst>
              <a:ext uri="{FF2B5EF4-FFF2-40B4-BE49-F238E27FC236}">
                <a16:creationId xmlns:a16="http://schemas.microsoft.com/office/drawing/2014/main" id="{11FFE657-6811-4C06-8D5C-502BF17797FC}"/>
              </a:ext>
            </a:extLst>
          </p:cNvPr>
          <p:cNvGrpSpPr/>
          <p:nvPr/>
        </p:nvGrpSpPr>
        <p:grpSpPr>
          <a:xfrm>
            <a:off x="4758853" y="3964827"/>
            <a:ext cx="1405915" cy="1064138"/>
            <a:chOff x="4659249" y="3423807"/>
            <a:chExt cx="1405915" cy="1064138"/>
          </a:xfrm>
        </p:grpSpPr>
        <p:sp>
          <p:nvSpPr>
            <p:cNvPr id="20" name="Freeform 24">
              <a:extLst>
                <a:ext uri="{FF2B5EF4-FFF2-40B4-BE49-F238E27FC236}">
                  <a16:creationId xmlns:a16="http://schemas.microsoft.com/office/drawing/2014/main" id="{D12326DC-C064-4153-8A91-F122D5D03FF7}"/>
                </a:ext>
              </a:extLst>
            </p:cNvPr>
            <p:cNvSpPr>
              <a:spLocks/>
            </p:cNvSpPr>
            <p:nvPr/>
          </p:nvSpPr>
          <p:spPr bwMode="auto">
            <a:xfrm>
              <a:off x="4659249" y="3423807"/>
              <a:ext cx="1405915" cy="1064138"/>
            </a:xfrm>
            <a:custGeom>
              <a:avLst/>
              <a:gdLst>
                <a:gd name="T0" fmla="*/ 1050 w 1883"/>
                <a:gd name="T1" fmla="*/ 5 h 1426"/>
                <a:gd name="T2" fmla="*/ 1167 w 1883"/>
                <a:gd name="T3" fmla="*/ 28 h 1426"/>
                <a:gd name="T4" fmla="*/ 1274 w 1883"/>
                <a:gd name="T5" fmla="*/ 69 h 1426"/>
                <a:gd name="T6" fmla="*/ 1370 w 1883"/>
                <a:gd name="T7" fmla="*/ 124 h 1426"/>
                <a:gd name="T8" fmla="*/ 1458 w 1883"/>
                <a:gd name="T9" fmla="*/ 192 h 1426"/>
                <a:gd name="T10" fmla="*/ 1536 w 1883"/>
                <a:gd name="T11" fmla="*/ 269 h 1426"/>
                <a:gd name="T12" fmla="*/ 1605 w 1883"/>
                <a:gd name="T13" fmla="*/ 354 h 1426"/>
                <a:gd name="T14" fmla="*/ 1665 w 1883"/>
                <a:gd name="T15" fmla="*/ 442 h 1426"/>
                <a:gd name="T16" fmla="*/ 1717 w 1883"/>
                <a:gd name="T17" fmla="*/ 531 h 1426"/>
                <a:gd name="T18" fmla="*/ 1761 w 1883"/>
                <a:gd name="T19" fmla="*/ 619 h 1426"/>
                <a:gd name="T20" fmla="*/ 1797 w 1883"/>
                <a:gd name="T21" fmla="*/ 702 h 1426"/>
                <a:gd name="T22" fmla="*/ 1826 w 1883"/>
                <a:gd name="T23" fmla="*/ 779 h 1426"/>
                <a:gd name="T24" fmla="*/ 1851 w 1883"/>
                <a:gd name="T25" fmla="*/ 846 h 1426"/>
                <a:gd name="T26" fmla="*/ 1867 w 1883"/>
                <a:gd name="T27" fmla="*/ 900 h 1426"/>
                <a:gd name="T28" fmla="*/ 1877 w 1883"/>
                <a:gd name="T29" fmla="*/ 937 h 1426"/>
                <a:gd name="T30" fmla="*/ 1881 w 1883"/>
                <a:gd name="T31" fmla="*/ 958 h 1426"/>
                <a:gd name="T32" fmla="*/ 1789 w 1883"/>
                <a:gd name="T33" fmla="*/ 1046 h 1426"/>
                <a:gd name="T34" fmla="*/ 1610 w 1883"/>
                <a:gd name="T35" fmla="*/ 1186 h 1426"/>
                <a:gd name="T36" fmla="*/ 1442 w 1883"/>
                <a:gd name="T37" fmla="*/ 1291 h 1426"/>
                <a:gd name="T38" fmla="*/ 1284 w 1883"/>
                <a:gd name="T39" fmla="*/ 1364 h 1426"/>
                <a:gd name="T40" fmla="*/ 1136 w 1883"/>
                <a:gd name="T41" fmla="*/ 1408 h 1426"/>
                <a:gd name="T42" fmla="*/ 998 w 1883"/>
                <a:gd name="T43" fmla="*/ 1426 h 1426"/>
                <a:gd name="T44" fmla="*/ 869 w 1883"/>
                <a:gd name="T45" fmla="*/ 1420 h 1426"/>
                <a:gd name="T46" fmla="*/ 752 w 1883"/>
                <a:gd name="T47" fmla="*/ 1392 h 1426"/>
                <a:gd name="T48" fmla="*/ 643 w 1883"/>
                <a:gd name="T49" fmla="*/ 1348 h 1426"/>
                <a:gd name="T50" fmla="*/ 544 w 1883"/>
                <a:gd name="T51" fmla="*/ 1288 h 1426"/>
                <a:gd name="T52" fmla="*/ 452 w 1883"/>
                <a:gd name="T53" fmla="*/ 1217 h 1426"/>
                <a:gd name="T54" fmla="*/ 371 w 1883"/>
                <a:gd name="T55" fmla="*/ 1136 h 1426"/>
                <a:gd name="T56" fmla="*/ 298 w 1883"/>
                <a:gd name="T57" fmla="*/ 1050 h 1426"/>
                <a:gd name="T58" fmla="*/ 233 w 1883"/>
                <a:gd name="T59" fmla="*/ 960 h 1426"/>
                <a:gd name="T60" fmla="*/ 177 w 1883"/>
                <a:gd name="T61" fmla="*/ 870 h 1426"/>
                <a:gd name="T62" fmla="*/ 129 w 1883"/>
                <a:gd name="T63" fmla="*/ 782 h 1426"/>
                <a:gd name="T64" fmla="*/ 89 w 1883"/>
                <a:gd name="T65" fmla="*/ 701 h 1426"/>
                <a:gd name="T66" fmla="*/ 57 w 1883"/>
                <a:gd name="T67" fmla="*/ 628 h 1426"/>
                <a:gd name="T68" fmla="*/ 31 w 1883"/>
                <a:gd name="T69" fmla="*/ 566 h 1426"/>
                <a:gd name="T70" fmla="*/ 15 w 1883"/>
                <a:gd name="T71" fmla="*/ 517 h 1426"/>
                <a:gd name="T72" fmla="*/ 3 w 1883"/>
                <a:gd name="T73" fmla="*/ 486 h 1426"/>
                <a:gd name="T74" fmla="*/ 0 w 1883"/>
                <a:gd name="T75" fmla="*/ 476 h 1426"/>
                <a:gd name="T76" fmla="*/ 195 w 1883"/>
                <a:gd name="T77" fmla="*/ 316 h 1426"/>
                <a:gd name="T78" fmla="*/ 379 w 1883"/>
                <a:gd name="T79" fmla="*/ 192 h 1426"/>
                <a:gd name="T80" fmla="*/ 548 w 1883"/>
                <a:gd name="T81" fmla="*/ 103 h 1426"/>
                <a:gd name="T82" fmla="*/ 706 w 1883"/>
                <a:gd name="T83" fmla="*/ 43 h 1426"/>
                <a:gd name="T84" fmla="*/ 853 w 1883"/>
                <a:gd name="T85" fmla="*/ 8 h 1426"/>
                <a:gd name="T86" fmla="*/ 986 w 1883"/>
                <a:gd name="T87"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1426">
                  <a:moveTo>
                    <a:pt x="986" y="0"/>
                  </a:moveTo>
                  <a:lnTo>
                    <a:pt x="1050" y="5"/>
                  </a:lnTo>
                  <a:lnTo>
                    <a:pt x="1110" y="13"/>
                  </a:lnTo>
                  <a:lnTo>
                    <a:pt x="1167" y="28"/>
                  </a:lnTo>
                  <a:lnTo>
                    <a:pt x="1222" y="46"/>
                  </a:lnTo>
                  <a:lnTo>
                    <a:pt x="1274" y="69"/>
                  </a:lnTo>
                  <a:lnTo>
                    <a:pt x="1323" y="95"/>
                  </a:lnTo>
                  <a:lnTo>
                    <a:pt x="1370" y="124"/>
                  </a:lnTo>
                  <a:lnTo>
                    <a:pt x="1416" y="157"/>
                  </a:lnTo>
                  <a:lnTo>
                    <a:pt x="1458" y="192"/>
                  </a:lnTo>
                  <a:lnTo>
                    <a:pt x="1499" y="230"/>
                  </a:lnTo>
                  <a:lnTo>
                    <a:pt x="1536" y="269"/>
                  </a:lnTo>
                  <a:lnTo>
                    <a:pt x="1572" y="311"/>
                  </a:lnTo>
                  <a:lnTo>
                    <a:pt x="1605" y="354"/>
                  </a:lnTo>
                  <a:lnTo>
                    <a:pt x="1636" y="398"/>
                  </a:lnTo>
                  <a:lnTo>
                    <a:pt x="1665" y="442"/>
                  </a:lnTo>
                  <a:lnTo>
                    <a:pt x="1691" y="486"/>
                  </a:lnTo>
                  <a:lnTo>
                    <a:pt x="1717" y="531"/>
                  </a:lnTo>
                  <a:lnTo>
                    <a:pt x="1740" y="575"/>
                  </a:lnTo>
                  <a:lnTo>
                    <a:pt x="1761" y="619"/>
                  </a:lnTo>
                  <a:lnTo>
                    <a:pt x="1781" y="662"/>
                  </a:lnTo>
                  <a:lnTo>
                    <a:pt x="1797" y="702"/>
                  </a:lnTo>
                  <a:lnTo>
                    <a:pt x="1813" y="742"/>
                  </a:lnTo>
                  <a:lnTo>
                    <a:pt x="1826" y="779"/>
                  </a:lnTo>
                  <a:lnTo>
                    <a:pt x="1839" y="813"/>
                  </a:lnTo>
                  <a:lnTo>
                    <a:pt x="1851" y="846"/>
                  </a:lnTo>
                  <a:lnTo>
                    <a:pt x="1859" y="874"/>
                  </a:lnTo>
                  <a:lnTo>
                    <a:pt x="1867" y="900"/>
                  </a:lnTo>
                  <a:lnTo>
                    <a:pt x="1872" y="921"/>
                  </a:lnTo>
                  <a:lnTo>
                    <a:pt x="1877" y="937"/>
                  </a:lnTo>
                  <a:lnTo>
                    <a:pt x="1880" y="950"/>
                  </a:lnTo>
                  <a:lnTo>
                    <a:pt x="1881" y="958"/>
                  </a:lnTo>
                  <a:lnTo>
                    <a:pt x="1883" y="962"/>
                  </a:lnTo>
                  <a:lnTo>
                    <a:pt x="1789" y="1046"/>
                  </a:lnTo>
                  <a:lnTo>
                    <a:pt x="1698" y="1120"/>
                  </a:lnTo>
                  <a:lnTo>
                    <a:pt x="1610" y="1186"/>
                  </a:lnTo>
                  <a:lnTo>
                    <a:pt x="1525" y="1244"/>
                  </a:lnTo>
                  <a:lnTo>
                    <a:pt x="1442" y="1291"/>
                  </a:lnTo>
                  <a:lnTo>
                    <a:pt x="1361" y="1332"/>
                  </a:lnTo>
                  <a:lnTo>
                    <a:pt x="1284" y="1364"/>
                  </a:lnTo>
                  <a:lnTo>
                    <a:pt x="1208" y="1390"/>
                  </a:lnTo>
                  <a:lnTo>
                    <a:pt x="1136" y="1408"/>
                  </a:lnTo>
                  <a:lnTo>
                    <a:pt x="1066" y="1420"/>
                  </a:lnTo>
                  <a:lnTo>
                    <a:pt x="998" y="1426"/>
                  </a:lnTo>
                  <a:lnTo>
                    <a:pt x="933" y="1424"/>
                  </a:lnTo>
                  <a:lnTo>
                    <a:pt x="869" y="1420"/>
                  </a:lnTo>
                  <a:lnTo>
                    <a:pt x="809" y="1408"/>
                  </a:lnTo>
                  <a:lnTo>
                    <a:pt x="752" y="1392"/>
                  </a:lnTo>
                  <a:lnTo>
                    <a:pt x="697" y="1372"/>
                  </a:lnTo>
                  <a:lnTo>
                    <a:pt x="643" y="1348"/>
                  </a:lnTo>
                  <a:lnTo>
                    <a:pt x="591" y="1320"/>
                  </a:lnTo>
                  <a:lnTo>
                    <a:pt x="544" y="1288"/>
                  </a:lnTo>
                  <a:lnTo>
                    <a:pt x="496" y="1253"/>
                  </a:lnTo>
                  <a:lnTo>
                    <a:pt x="452" y="1217"/>
                  </a:lnTo>
                  <a:lnTo>
                    <a:pt x="410" y="1178"/>
                  </a:lnTo>
                  <a:lnTo>
                    <a:pt x="371" y="1136"/>
                  </a:lnTo>
                  <a:lnTo>
                    <a:pt x="334" y="1094"/>
                  </a:lnTo>
                  <a:lnTo>
                    <a:pt x="298" y="1050"/>
                  </a:lnTo>
                  <a:lnTo>
                    <a:pt x="264" y="1006"/>
                  </a:lnTo>
                  <a:lnTo>
                    <a:pt x="233" y="960"/>
                  </a:lnTo>
                  <a:lnTo>
                    <a:pt x="203" y="916"/>
                  </a:lnTo>
                  <a:lnTo>
                    <a:pt x="177" y="870"/>
                  </a:lnTo>
                  <a:lnTo>
                    <a:pt x="151" y="826"/>
                  </a:lnTo>
                  <a:lnTo>
                    <a:pt x="129" y="782"/>
                  </a:lnTo>
                  <a:lnTo>
                    <a:pt x="107" y="742"/>
                  </a:lnTo>
                  <a:lnTo>
                    <a:pt x="89" y="701"/>
                  </a:lnTo>
                  <a:lnTo>
                    <a:pt x="72" y="663"/>
                  </a:lnTo>
                  <a:lnTo>
                    <a:pt x="57" y="628"/>
                  </a:lnTo>
                  <a:lnTo>
                    <a:pt x="42" y="595"/>
                  </a:lnTo>
                  <a:lnTo>
                    <a:pt x="31" y="566"/>
                  </a:lnTo>
                  <a:lnTo>
                    <a:pt x="21" y="540"/>
                  </a:lnTo>
                  <a:lnTo>
                    <a:pt x="15" y="517"/>
                  </a:lnTo>
                  <a:lnTo>
                    <a:pt x="8" y="499"/>
                  </a:lnTo>
                  <a:lnTo>
                    <a:pt x="3" y="486"/>
                  </a:lnTo>
                  <a:lnTo>
                    <a:pt x="2" y="478"/>
                  </a:lnTo>
                  <a:lnTo>
                    <a:pt x="0" y="476"/>
                  </a:lnTo>
                  <a:lnTo>
                    <a:pt x="99" y="391"/>
                  </a:lnTo>
                  <a:lnTo>
                    <a:pt x="195" y="316"/>
                  </a:lnTo>
                  <a:lnTo>
                    <a:pt x="290" y="251"/>
                  </a:lnTo>
                  <a:lnTo>
                    <a:pt x="379" y="192"/>
                  </a:lnTo>
                  <a:lnTo>
                    <a:pt x="465" y="144"/>
                  </a:lnTo>
                  <a:lnTo>
                    <a:pt x="548" y="103"/>
                  </a:lnTo>
                  <a:lnTo>
                    <a:pt x="630" y="69"/>
                  </a:lnTo>
                  <a:lnTo>
                    <a:pt x="706" y="43"/>
                  </a:lnTo>
                  <a:lnTo>
                    <a:pt x="781" y="21"/>
                  </a:lnTo>
                  <a:lnTo>
                    <a:pt x="853" y="8"/>
                  </a:lnTo>
                  <a:lnTo>
                    <a:pt x="921" y="2"/>
                  </a:lnTo>
                  <a:lnTo>
                    <a:pt x="986"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1" name="Freeform 31">
              <a:extLst>
                <a:ext uri="{FF2B5EF4-FFF2-40B4-BE49-F238E27FC236}">
                  <a16:creationId xmlns:a16="http://schemas.microsoft.com/office/drawing/2014/main" id="{DCCE5309-5AFC-4D11-BA0F-EEF6EF8A89EE}"/>
                </a:ext>
              </a:extLst>
            </p:cNvPr>
            <p:cNvSpPr>
              <a:spLocks/>
            </p:cNvSpPr>
            <p:nvPr/>
          </p:nvSpPr>
          <p:spPr bwMode="auto">
            <a:xfrm>
              <a:off x="4659249" y="3553652"/>
              <a:ext cx="1046227" cy="932800"/>
            </a:xfrm>
            <a:custGeom>
              <a:avLst/>
              <a:gdLst>
                <a:gd name="T0" fmla="*/ 410 w 1401"/>
                <a:gd name="T1" fmla="*/ 0 h 1249"/>
                <a:gd name="T2" fmla="*/ 418 w 1401"/>
                <a:gd name="T3" fmla="*/ 32 h 1249"/>
                <a:gd name="T4" fmla="*/ 430 w 1401"/>
                <a:gd name="T5" fmla="*/ 71 h 1249"/>
                <a:gd name="T6" fmla="*/ 446 w 1401"/>
                <a:gd name="T7" fmla="*/ 115 h 1249"/>
                <a:gd name="T8" fmla="*/ 465 w 1401"/>
                <a:gd name="T9" fmla="*/ 164 h 1249"/>
                <a:gd name="T10" fmla="*/ 488 w 1401"/>
                <a:gd name="T11" fmla="*/ 218 h 1249"/>
                <a:gd name="T12" fmla="*/ 514 w 1401"/>
                <a:gd name="T13" fmla="*/ 277 h 1249"/>
                <a:gd name="T14" fmla="*/ 547 w 1401"/>
                <a:gd name="T15" fmla="*/ 338 h 1249"/>
                <a:gd name="T16" fmla="*/ 583 w 1401"/>
                <a:gd name="T17" fmla="*/ 404 h 1249"/>
                <a:gd name="T18" fmla="*/ 625 w 1401"/>
                <a:gd name="T19" fmla="*/ 470 h 1249"/>
                <a:gd name="T20" fmla="*/ 672 w 1401"/>
                <a:gd name="T21" fmla="*/ 539 h 1249"/>
                <a:gd name="T22" fmla="*/ 726 w 1401"/>
                <a:gd name="T23" fmla="*/ 609 h 1249"/>
                <a:gd name="T24" fmla="*/ 786 w 1401"/>
                <a:gd name="T25" fmla="*/ 679 h 1249"/>
                <a:gd name="T26" fmla="*/ 851 w 1401"/>
                <a:gd name="T27" fmla="*/ 749 h 1249"/>
                <a:gd name="T28" fmla="*/ 924 w 1401"/>
                <a:gd name="T29" fmla="*/ 819 h 1249"/>
                <a:gd name="T30" fmla="*/ 1004 w 1401"/>
                <a:gd name="T31" fmla="*/ 888 h 1249"/>
                <a:gd name="T32" fmla="*/ 1092 w 1401"/>
                <a:gd name="T33" fmla="*/ 954 h 1249"/>
                <a:gd name="T34" fmla="*/ 1186 w 1401"/>
                <a:gd name="T35" fmla="*/ 1018 h 1249"/>
                <a:gd name="T36" fmla="*/ 1291 w 1401"/>
                <a:gd name="T37" fmla="*/ 1080 h 1249"/>
                <a:gd name="T38" fmla="*/ 1401 w 1401"/>
                <a:gd name="T39" fmla="*/ 1137 h 1249"/>
                <a:gd name="T40" fmla="*/ 1315 w 1401"/>
                <a:gd name="T41" fmla="*/ 1176 h 1249"/>
                <a:gd name="T42" fmla="*/ 1230 w 1401"/>
                <a:gd name="T43" fmla="*/ 1207 h 1249"/>
                <a:gd name="T44" fmla="*/ 1151 w 1401"/>
                <a:gd name="T45" fmla="*/ 1230 h 1249"/>
                <a:gd name="T46" fmla="*/ 1073 w 1401"/>
                <a:gd name="T47" fmla="*/ 1245 h 1249"/>
                <a:gd name="T48" fmla="*/ 998 w 1401"/>
                <a:gd name="T49" fmla="*/ 1249 h 1249"/>
                <a:gd name="T50" fmla="*/ 926 w 1401"/>
                <a:gd name="T51" fmla="*/ 1249 h 1249"/>
                <a:gd name="T52" fmla="*/ 856 w 1401"/>
                <a:gd name="T53" fmla="*/ 1241 h 1249"/>
                <a:gd name="T54" fmla="*/ 791 w 1401"/>
                <a:gd name="T55" fmla="*/ 1228 h 1249"/>
                <a:gd name="T56" fmla="*/ 727 w 1401"/>
                <a:gd name="T57" fmla="*/ 1209 h 1249"/>
                <a:gd name="T58" fmla="*/ 667 w 1401"/>
                <a:gd name="T59" fmla="*/ 1184 h 1249"/>
                <a:gd name="T60" fmla="*/ 610 w 1401"/>
                <a:gd name="T61" fmla="*/ 1155 h 1249"/>
                <a:gd name="T62" fmla="*/ 557 w 1401"/>
                <a:gd name="T63" fmla="*/ 1122 h 1249"/>
                <a:gd name="T64" fmla="*/ 504 w 1401"/>
                <a:gd name="T65" fmla="*/ 1085 h 1249"/>
                <a:gd name="T66" fmla="*/ 456 w 1401"/>
                <a:gd name="T67" fmla="*/ 1044 h 1249"/>
                <a:gd name="T68" fmla="*/ 408 w 1401"/>
                <a:gd name="T69" fmla="*/ 1002 h 1249"/>
                <a:gd name="T70" fmla="*/ 365 w 1401"/>
                <a:gd name="T71" fmla="*/ 956 h 1249"/>
                <a:gd name="T72" fmla="*/ 324 w 1401"/>
                <a:gd name="T73" fmla="*/ 909 h 1249"/>
                <a:gd name="T74" fmla="*/ 286 w 1401"/>
                <a:gd name="T75" fmla="*/ 860 h 1249"/>
                <a:gd name="T76" fmla="*/ 251 w 1401"/>
                <a:gd name="T77" fmla="*/ 809 h 1249"/>
                <a:gd name="T78" fmla="*/ 216 w 1401"/>
                <a:gd name="T79" fmla="*/ 761 h 1249"/>
                <a:gd name="T80" fmla="*/ 185 w 1401"/>
                <a:gd name="T81" fmla="*/ 710 h 1249"/>
                <a:gd name="T82" fmla="*/ 158 w 1401"/>
                <a:gd name="T83" fmla="*/ 661 h 1249"/>
                <a:gd name="T84" fmla="*/ 132 w 1401"/>
                <a:gd name="T85" fmla="*/ 614 h 1249"/>
                <a:gd name="T86" fmla="*/ 109 w 1401"/>
                <a:gd name="T87" fmla="*/ 568 h 1249"/>
                <a:gd name="T88" fmla="*/ 88 w 1401"/>
                <a:gd name="T89" fmla="*/ 523 h 1249"/>
                <a:gd name="T90" fmla="*/ 68 w 1401"/>
                <a:gd name="T91" fmla="*/ 482 h 1249"/>
                <a:gd name="T92" fmla="*/ 52 w 1401"/>
                <a:gd name="T93" fmla="*/ 443 h 1249"/>
                <a:gd name="T94" fmla="*/ 39 w 1401"/>
                <a:gd name="T95" fmla="*/ 409 h 1249"/>
                <a:gd name="T96" fmla="*/ 26 w 1401"/>
                <a:gd name="T97" fmla="*/ 378 h 1249"/>
                <a:gd name="T98" fmla="*/ 16 w 1401"/>
                <a:gd name="T99" fmla="*/ 352 h 1249"/>
                <a:gd name="T100" fmla="*/ 10 w 1401"/>
                <a:gd name="T101" fmla="*/ 329 h 1249"/>
                <a:gd name="T102" fmla="*/ 5 w 1401"/>
                <a:gd name="T103" fmla="*/ 314 h 1249"/>
                <a:gd name="T104" fmla="*/ 2 w 1401"/>
                <a:gd name="T105" fmla="*/ 304 h 1249"/>
                <a:gd name="T106" fmla="*/ 0 w 1401"/>
                <a:gd name="T107" fmla="*/ 301 h 1249"/>
                <a:gd name="T108" fmla="*/ 86 w 1401"/>
                <a:gd name="T109" fmla="*/ 226 h 1249"/>
                <a:gd name="T110" fmla="*/ 171 w 1401"/>
                <a:gd name="T111" fmla="*/ 159 h 1249"/>
                <a:gd name="T112" fmla="*/ 254 w 1401"/>
                <a:gd name="T113" fmla="*/ 101 h 1249"/>
                <a:gd name="T114" fmla="*/ 332 w 1401"/>
                <a:gd name="T115" fmla="*/ 47 h 1249"/>
                <a:gd name="T116" fmla="*/ 410 w 1401"/>
                <a:gd name="T117" fmla="*/ 0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1" h="1249">
                  <a:moveTo>
                    <a:pt x="410" y="0"/>
                  </a:moveTo>
                  <a:lnTo>
                    <a:pt x="418" y="32"/>
                  </a:lnTo>
                  <a:lnTo>
                    <a:pt x="430" y="71"/>
                  </a:lnTo>
                  <a:lnTo>
                    <a:pt x="446" y="115"/>
                  </a:lnTo>
                  <a:lnTo>
                    <a:pt x="465" y="164"/>
                  </a:lnTo>
                  <a:lnTo>
                    <a:pt x="488" y="218"/>
                  </a:lnTo>
                  <a:lnTo>
                    <a:pt x="514" y="277"/>
                  </a:lnTo>
                  <a:lnTo>
                    <a:pt x="547" y="338"/>
                  </a:lnTo>
                  <a:lnTo>
                    <a:pt x="583" y="404"/>
                  </a:lnTo>
                  <a:lnTo>
                    <a:pt x="625" y="470"/>
                  </a:lnTo>
                  <a:lnTo>
                    <a:pt x="672" y="539"/>
                  </a:lnTo>
                  <a:lnTo>
                    <a:pt x="726" y="609"/>
                  </a:lnTo>
                  <a:lnTo>
                    <a:pt x="786" y="679"/>
                  </a:lnTo>
                  <a:lnTo>
                    <a:pt x="851" y="749"/>
                  </a:lnTo>
                  <a:lnTo>
                    <a:pt x="924" y="819"/>
                  </a:lnTo>
                  <a:lnTo>
                    <a:pt x="1004" y="888"/>
                  </a:lnTo>
                  <a:lnTo>
                    <a:pt x="1092" y="954"/>
                  </a:lnTo>
                  <a:lnTo>
                    <a:pt x="1186" y="1018"/>
                  </a:lnTo>
                  <a:lnTo>
                    <a:pt x="1291" y="1080"/>
                  </a:lnTo>
                  <a:lnTo>
                    <a:pt x="1401" y="1137"/>
                  </a:lnTo>
                  <a:lnTo>
                    <a:pt x="1315" y="1176"/>
                  </a:lnTo>
                  <a:lnTo>
                    <a:pt x="1230" y="1207"/>
                  </a:lnTo>
                  <a:lnTo>
                    <a:pt x="1151" y="1230"/>
                  </a:lnTo>
                  <a:lnTo>
                    <a:pt x="1073" y="1245"/>
                  </a:lnTo>
                  <a:lnTo>
                    <a:pt x="998" y="1249"/>
                  </a:lnTo>
                  <a:lnTo>
                    <a:pt x="926" y="1249"/>
                  </a:lnTo>
                  <a:lnTo>
                    <a:pt x="856" y="1241"/>
                  </a:lnTo>
                  <a:lnTo>
                    <a:pt x="791" y="1228"/>
                  </a:lnTo>
                  <a:lnTo>
                    <a:pt x="727" y="1209"/>
                  </a:lnTo>
                  <a:lnTo>
                    <a:pt x="667" y="1184"/>
                  </a:lnTo>
                  <a:lnTo>
                    <a:pt x="610" y="1155"/>
                  </a:lnTo>
                  <a:lnTo>
                    <a:pt x="557" y="1122"/>
                  </a:lnTo>
                  <a:lnTo>
                    <a:pt x="504" y="1085"/>
                  </a:lnTo>
                  <a:lnTo>
                    <a:pt x="456" y="1044"/>
                  </a:lnTo>
                  <a:lnTo>
                    <a:pt x="408" y="1002"/>
                  </a:lnTo>
                  <a:lnTo>
                    <a:pt x="365" y="956"/>
                  </a:lnTo>
                  <a:lnTo>
                    <a:pt x="324" y="909"/>
                  </a:lnTo>
                  <a:lnTo>
                    <a:pt x="286" y="860"/>
                  </a:lnTo>
                  <a:lnTo>
                    <a:pt x="251" y="809"/>
                  </a:lnTo>
                  <a:lnTo>
                    <a:pt x="216" y="761"/>
                  </a:lnTo>
                  <a:lnTo>
                    <a:pt x="185" y="710"/>
                  </a:lnTo>
                  <a:lnTo>
                    <a:pt x="158" y="661"/>
                  </a:lnTo>
                  <a:lnTo>
                    <a:pt x="132" y="614"/>
                  </a:lnTo>
                  <a:lnTo>
                    <a:pt x="109" y="568"/>
                  </a:lnTo>
                  <a:lnTo>
                    <a:pt x="88" y="523"/>
                  </a:lnTo>
                  <a:lnTo>
                    <a:pt x="68" y="482"/>
                  </a:lnTo>
                  <a:lnTo>
                    <a:pt x="52" y="443"/>
                  </a:lnTo>
                  <a:lnTo>
                    <a:pt x="39" y="409"/>
                  </a:lnTo>
                  <a:lnTo>
                    <a:pt x="26" y="378"/>
                  </a:lnTo>
                  <a:lnTo>
                    <a:pt x="16" y="352"/>
                  </a:lnTo>
                  <a:lnTo>
                    <a:pt x="10" y="329"/>
                  </a:lnTo>
                  <a:lnTo>
                    <a:pt x="5" y="314"/>
                  </a:lnTo>
                  <a:lnTo>
                    <a:pt x="2" y="304"/>
                  </a:lnTo>
                  <a:lnTo>
                    <a:pt x="0" y="301"/>
                  </a:lnTo>
                  <a:lnTo>
                    <a:pt x="86" y="226"/>
                  </a:lnTo>
                  <a:lnTo>
                    <a:pt x="171" y="159"/>
                  </a:lnTo>
                  <a:lnTo>
                    <a:pt x="254" y="101"/>
                  </a:lnTo>
                  <a:lnTo>
                    <a:pt x="332" y="47"/>
                  </a:lnTo>
                  <a:lnTo>
                    <a:pt x="410"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nvGrpSpPr>
          <p:cNvPr id="22" name="Group 18">
            <a:extLst>
              <a:ext uri="{FF2B5EF4-FFF2-40B4-BE49-F238E27FC236}">
                <a16:creationId xmlns:a16="http://schemas.microsoft.com/office/drawing/2014/main" id="{05D87E65-3C70-478C-87A2-9ABAF273EFA5}"/>
              </a:ext>
            </a:extLst>
          </p:cNvPr>
          <p:cNvGrpSpPr/>
          <p:nvPr/>
        </p:nvGrpSpPr>
        <p:grpSpPr>
          <a:xfrm>
            <a:off x="4809597" y="2775321"/>
            <a:ext cx="1298456" cy="1002946"/>
            <a:chOff x="4709993" y="2234301"/>
            <a:chExt cx="1298456" cy="1002946"/>
          </a:xfrm>
        </p:grpSpPr>
        <p:sp>
          <p:nvSpPr>
            <p:cNvPr id="23" name="Freeform 25">
              <a:extLst>
                <a:ext uri="{FF2B5EF4-FFF2-40B4-BE49-F238E27FC236}">
                  <a16:creationId xmlns:a16="http://schemas.microsoft.com/office/drawing/2014/main" id="{B0616B6C-4A36-404F-97C0-ECAFB55438E1}"/>
                </a:ext>
              </a:extLst>
            </p:cNvPr>
            <p:cNvSpPr>
              <a:spLocks/>
            </p:cNvSpPr>
            <p:nvPr/>
          </p:nvSpPr>
          <p:spPr bwMode="auto">
            <a:xfrm>
              <a:off x="4709993" y="2234301"/>
              <a:ext cx="1298456" cy="1002946"/>
            </a:xfrm>
            <a:custGeom>
              <a:avLst/>
              <a:gdLst>
                <a:gd name="T0" fmla="*/ 957 w 1740"/>
                <a:gd name="T1" fmla="*/ 2 h 1345"/>
                <a:gd name="T2" fmla="*/ 1065 w 1740"/>
                <a:gd name="T3" fmla="*/ 20 h 1345"/>
                <a:gd name="T4" fmla="*/ 1167 w 1740"/>
                <a:gd name="T5" fmla="*/ 48 h 1345"/>
                <a:gd name="T6" fmla="*/ 1267 w 1740"/>
                <a:gd name="T7" fmla="*/ 87 h 1345"/>
                <a:gd name="T8" fmla="*/ 1361 w 1740"/>
                <a:gd name="T9" fmla="*/ 131 h 1345"/>
                <a:gd name="T10" fmla="*/ 1446 w 1740"/>
                <a:gd name="T11" fmla="*/ 180 h 1345"/>
                <a:gd name="T12" fmla="*/ 1524 w 1740"/>
                <a:gd name="T13" fmla="*/ 230 h 1345"/>
                <a:gd name="T14" fmla="*/ 1591 w 1740"/>
                <a:gd name="T15" fmla="*/ 279 h 1345"/>
                <a:gd name="T16" fmla="*/ 1647 w 1740"/>
                <a:gd name="T17" fmla="*/ 323 h 1345"/>
                <a:gd name="T18" fmla="*/ 1691 w 1740"/>
                <a:gd name="T19" fmla="*/ 361 h 1345"/>
                <a:gd name="T20" fmla="*/ 1722 w 1740"/>
                <a:gd name="T21" fmla="*/ 387 h 1345"/>
                <a:gd name="T22" fmla="*/ 1739 w 1740"/>
                <a:gd name="T23" fmla="*/ 403 h 1345"/>
                <a:gd name="T24" fmla="*/ 1708 w 1740"/>
                <a:gd name="T25" fmla="*/ 524 h 1345"/>
                <a:gd name="T26" fmla="*/ 1633 w 1740"/>
                <a:gd name="T27" fmla="*/ 732 h 1345"/>
                <a:gd name="T28" fmla="*/ 1548 w 1740"/>
                <a:gd name="T29" fmla="*/ 905 h 1345"/>
                <a:gd name="T30" fmla="*/ 1455 w 1740"/>
                <a:gd name="T31" fmla="*/ 1045 h 1345"/>
                <a:gd name="T32" fmla="*/ 1356 w 1740"/>
                <a:gd name="T33" fmla="*/ 1156 h 1345"/>
                <a:gd name="T34" fmla="*/ 1250 w 1740"/>
                <a:gd name="T35" fmla="*/ 1237 h 1345"/>
                <a:gd name="T36" fmla="*/ 1141 w 1740"/>
                <a:gd name="T37" fmla="*/ 1294 h 1345"/>
                <a:gd name="T38" fmla="*/ 1029 w 1740"/>
                <a:gd name="T39" fmla="*/ 1329 h 1345"/>
                <a:gd name="T40" fmla="*/ 915 w 1740"/>
                <a:gd name="T41" fmla="*/ 1343 h 1345"/>
                <a:gd name="T42" fmla="*/ 803 w 1740"/>
                <a:gd name="T43" fmla="*/ 1342 h 1345"/>
                <a:gd name="T44" fmla="*/ 690 w 1740"/>
                <a:gd name="T45" fmla="*/ 1325 h 1345"/>
                <a:gd name="T46" fmla="*/ 583 w 1740"/>
                <a:gd name="T47" fmla="*/ 1299 h 1345"/>
                <a:gd name="T48" fmla="*/ 479 w 1740"/>
                <a:gd name="T49" fmla="*/ 1262 h 1345"/>
                <a:gd name="T50" fmla="*/ 367 w 1740"/>
                <a:gd name="T51" fmla="*/ 1211 h 1345"/>
                <a:gd name="T52" fmla="*/ 264 w 1740"/>
                <a:gd name="T53" fmla="*/ 1157 h 1345"/>
                <a:gd name="T54" fmla="*/ 176 w 1740"/>
                <a:gd name="T55" fmla="*/ 1104 h 1345"/>
                <a:gd name="T56" fmla="*/ 103 w 1740"/>
                <a:gd name="T57" fmla="*/ 1053 h 1345"/>
                <a:gd name="T58" fmla="*/ 47 w 1740"/>
                <a:gd name="T59" fmla="*/ 1012 h 1345"/>
                <a:gd name="T60" fmla="*/ 12 w 1740"/>
                <a:gd name="T61" fmla="*/ 985 h 1345"/>
                <a:gd name="T62" fmla="*/ 0 w 1740"/>
                <a:gd name="T63" fmla="*/ 975 h 1345"/>
                <a:gd name="T64" fmla="*/ 78 w 1740"/>
                <a:gd name="T65" fmla="*/ 740 h 1345"/>
                <a:gd name="T66" fmla="*/ 165 w 1740"/>
                <a:gd name="T67" fmla="*/ 543 h 1345"/>
                <a:gd name="T68" fmla="*/ 259 w 1740"/>
                <a:gd name="T69" fmla="*/ 380 h 1345"/>
                <a:gd name="T70" fmla="*/ 360 w 1740"/>
                <a:gd name="T71" fmla="*/ 251 h 1345"/>
                <a:gd name="T72" fmla="*/ 464 w 1740"/>
                <a:gd name="T73" fmla="*/ 152 h 1345"/>
                <a:gd name="T74" fmla="*/ 572 w 1740"/>
                <a:gd name="T75" fmla="*/ 80 h 1345"/>
                <a:gd name="T76" fmla="*/ 681 w 1740"/>
                <a:gd name="T77" fmla="*/ 33 h 1345"/>
                <a:gd name="T78" fmla="*/ 791 w 1740"/>
                <a:gd name="T79" fmla="*/ 7 h 1345"/>
                <a:gd name="T80" fmla="*/ 902 w 1740"/>
                <a:gd name="T81" fmla="*/ 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40" h="1345">
                  <a:moveTo>
                    <a:pt x="902" y="0"/>
                  </a:moveTo>
                  <a:lnTo>
                    <a:pt x="957" y="2"/>
                  </a:lnTo>
                  <a:lnTo>
                    <a:pt x="1011" y="9"/>
                  </a:lnTo>
                  <a:lnTo>
                    <a:pt x="1065" y="20"/>
                  </a:lnTo>
                  <a:lnTo>
                    <a:pt x="1117" y="33"/>
                  </a:lnTo>
                  <a:lnTo>
                    <a:pt x="1167" y="48"/>
                  </a:lnTo>
                  <a:lnTo>
                    <a:pt x="1218" y="66"/>
                  </a:lnTo>
                  <a:lnTo>
                    <a:pt x="1267" y="87"/>
                  </a:lnTo>
                  <a:lnTo>
                    <a:pt x="1314" y="108"/>
                  </a:lnTo>
                  <a:lnTo>
                    <a:pt x="1361" y="131"/>
                  </a:lnTo>
                  <a:lnTo>
                    <a:pt x="1403" y="155"/>
                  </a:lnTo>
                  <a:lnTo>
                    <a:pt x="1446" y="180"/>
                  </a:lnTo>
                  <a:lnTo>
                    <a:pt x="1486" y="204"/>
                  </a:lnTo>
                  <a:lnTo>
                    <a:pt x="1524" y="230"/>
                  </a:lnTo>
                  <a:lnTo>
                    <a:pt x="1558" y="255"/>
                  </a:lnTo>
                  <a:lnTo>
                    <a:pt x="1591" y="279"/>
                  </a:lnTo>
                  <a:lnTo>
                    <a:pt x="1620" y="302"/>
                  </a:lnTo>
                  <a:lnTo>
                    <a:pt x="1647" y="323"/>
                  </a:lnTo>
                  <a:lnTo>
                    <a:pt x="1670" y="343"/>
                  </a:lnTo>
                  <a:lnTo>
                    <a:pt x="1691" y="361"/>
                  </a:lnTo>
                  <a:lnTo>
                    <a:pt x="1709" y="375"/>
                  </a:lnTo>
                  <a:lnTo>
                    <a:pt x="1722" y="387"/>
                  </a:lnTo>
                  <a:lnTo>
                    <a:pt x="1732" y="396"/>
                  </a:lnTo>
                  <a:lnTo>
                    <a:pt x="1739" y="403"/>
                  </a:lnTo>
                  <a:lnTo>
                    <a:pt x="1740" y="405"/>
                  </a:lnTo>
                  <a:lnTo>
                    <a:pt x="1708" y="524"/>
                  </a:lnTo>
                  <a:lnTo>
                    <a:pt x="1672" y="633"/>
                  </a:lnTo>
                  <a:lnTo>
                    <a:pt x="1633" y="732"/>
                  </a:lnTo>
                  <a:lnTo>
                    <a:pt x="1592" y="823"/>
                  </a:lnTo>
                  <a:lnTo>
                    <a:pt x="1548" y="905"/>
                  </a:lnTo>
                  <a:lnTo>
                    <a:pt x="1504" y="980"/>
                  </a:lnTo>
                  <a:lnTo>
                    <a:pt x="1455" y="1045"/>
                  </a:lnTo>
                  <a:lnTo>
                    <a:pt x="1407" y="1104"/>
                  </a:lnTo>
                  <a:lnTo>
                    <a:pt x="1356" y="1156"/>
                  </a:lnTo>
                  <a:lnTo>
                    <a:pt x="1304" y="1200"/>
                  </a:lnTo>
                  <a:lnTo>
                    <a:pt x="1250" y="1237"/>
                  </a:lnTo>
                  <a:lnTo>
                    <a:pt x="1197" y="1268"/>
                  </a:lnTo>
                  <a:lnTo>
                    <a:pt x="1141" y="1294"/>
                  </a:lnTo>
                  <a:lnTo>
                    <a:pt x="1084" y="1314"/>
                  </a:lnTo>
                  <a:lnTo>
                    <a:pt x="1029" y="1329"/>
                  </a:lnTo>
                  <a:lnTo>
                    <a:pt x="972" y="1338"/>
                  </a:lnTo>
                  <a:lnTo>
                    <a:pt x="915" y="1343"/>
                  </a:lnTo>
                  <a:lnTo>
                    <a:pt x="858" y="1345"/>
                  </a:lnTo>
                  <a:lnTo>
                    <a:pt x="803" y="1342"/>
                  </a:lnTo>
                  <a:lnTo>
                    <a:pt x="746" y="1335"/>
                  </a:lnTo>
                  <a:lnTo>
                    <a:pt x="690" y="1325"/>
                  </a:lnTo>
                  <a:lnTo>
                    <a:pt x="637" y="1314"/>
                  </a:lnTo>
                  <a:lnTo>
                    <a:pt x="583" y="1299"/>
                  </a:lnTo>
                  <a:lnTo>
                    <a:pt x="529" y="1281"/>
                  </a:lnTo>
                  <a:lnTo>
                    <a:pt x="479" y="1262"/>
                  </a:lnTo>
                  <a:lnTo>
                    <a:pt x="422" y="1237"/>
                  </a:lnTo>
                  <a:lnTo>
                    <a:pt x="367" y="1211"/>
                  </a:lnTo>
                  <a:lnTo>
                    <a:pt x="313" y="1185"/>
                  </a:lnTo>
                  <a:lnTo>
                    <a:pt x="264" y="1157"/>
                  </a:lnTo>
                  <a:lnTo>
                    <a:pt x="218" y="1130"/>
                  </a:lnTo>
                  <a:lnTo>
                    <a:pt x="176" y="1104"/>
                  </a:lnTo>
                  <a:lnTo>
                    <a:pt x="137" y="1078"/>
                  </a:lnTo>
                  <a:lnTo>
                    <a:pt x="103" y="1053"/>
                  </a:lnTo>
                  <a:lnTo>
                    <a:pt x="72" y="1032"/>
                  </a:lnTo>
                  <a:lnTo>
                    <a:pt x="47" y="1012"/>
                  </a:lnTo>
                  <a:lnTo>
                    <a:pt x="26" y="998"/>
                  </a:lnTo>
                  <a:lnTo>
                    <a:pt x="12" y="985"/>
                  </a:lnTo>
                  <a:lnTo>
                    <a:pt x="4" y="978"/>
                  </a:lnTo>
                  <a:lnTo>
                    <a:pt x="0" y="975"/>
                  </a:lnTo>
                  <a:lnTo>
                    <a:pt x="38" y="853"/>
                  </a:lnTo>
                  <a:lnTo>
                    <a:pt x="78" y="740"/>
                  </a:lnTo>
                  <a:lnTo>
                    <a:pt x="121" y="636"/>
                  </a:lnTo>
                  <a:lnTo>
                    <a:pt x="165" y="543"/>
                  </a:lnTo>
                  <a:lnTo>
                    <a:pt x="212" y="457"/>
                  </a:lnTo>
                  <a:lnTo>
                    <a:pt x="259" y="380"/>
                  </a:lnTo>
                  <a:lnTo>
                    <a:pt x="308" y="312"/>
                  </a:lnTo>
                  <a:lnTo>
                    <a:pt x="360" y="251"/>
                  </a:lnTo>
                  <a:lnTo>
                    <a:pt x="410" y="198"/>
                  </a:lnTo>
                  <a:lnTo>
                    <a:pt x="464" y="152"/>
                  </a:lnTo>
                  <a:lnTo>
                    <a:pt x="518" y="113"/>
                  </a:lnTo>
                  <a:lnTo>
                    <a:pt x="572" y="80"/>
                  </a:lnTo>
                  <a:lnTo>
                    <a:pt x="627" y="54"/>
                  </a:lnTo>
                  <a:lnTo>
                    <a:pt x="681" y="33"/>
                  </a:lnTo>
                  <a:lnTo>
                    <a:pt x="736" y="17"/>
                  </a:lnTo>
                  <a:lnTo>
                    <a:pt x="791" y="7"/>
                  </a:lnTo>
                  <a:lnTo>
                    <a:pt x="847" y="0"/>
                  </a:lnTo>
                  <a:lnTo>
                    <a:pt x="902"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4" name="Freeform 32">
              <a:extLst>
                <a:ext uri="{FF2B5EF4-FFF2-40B4-BE49-F238E27FC236}">
                  <a16:creationId xmlns:a16="http://schemas.microsoft.com/office/drawing/2014/main" id="{B209EB22-1CFE-4FF4-B2A6-17C58D4F26C6}"/>
                </a:ext>
              </a:extLst>
            </p:cNvPr>
            <p:cNvSpPr>
              <a:spLocks/>
            </p:cNvSpPr>
            <p:nvPr/>
          </p:nvSpPr>
          <p:spPr bwMode="auto">
            <a:xfrm>
              <a:off x="4709995" y="2235793"/>
              <a:ext cx="617887" cy="914890"/>
            </a:xfrm>
            <a:custGeom>
              <a:avLst/>
              <a:gdLst>
                <a:gd name="T0" fmla="*/ 827 w 827"/>
                <a:gd name="T1" fmla="*/ 0 h 1225"/>
                <a:gd name="T2" fmla="*/ 770 w 827"/>
                <a:gd name="T3" fmla="*/ 55 h 1225"/>
                <a:gd name="T4" fmla="*/ 718 w 827"/>
                <a:gd name="T5" fmla="*/ 117 h 1225"/>
                <a:gd name="T6" fmla="*/ 673 w 827"/>
                <a:gd name="T7" fmla="*/ 184 h 1225"/>
                <a:gd name="T8" fmla="*/ 630 w 827"/>
                <a:gd name="T9" fmla="*/ 256 h 1225"/>
                <a:gd name="T10" fmla="*/ 593 w 827"/>
                <a:gd name="T11" fmla="*/ 329 h 1225"/>
                <a:gd name="T12" fmla="*/ 559 w 827"/>
                <a:gd name="T13" fmla="*/ 407 h 1225"/>
                <a:gd name="T14" fmla="*/ 529 w 827"/>
                <a:gd name="T15" fmla="*/ 486 h 1225"/>
                <a:gd name="T16" fmla="*/ 505 w 827"/>
                <a:gd name="T17" fmla="*/ 566 h 1225"/>
                <a:gd name="T18" fmla="*/ 482 w 827"/>
                <a:gd name="T19" fmla="*/ 645 h 1225"/>
                <a:gd name="T20" fmla="*/ 464 w 827"/>
                <a:gd name="T21" fmla="*/ 724 h 1225"/>
                <a:gd name="T22" fmla="*/ 448 w 827"/>
                <a:gd name="T23" fmla="*/ 800 h 1225"/>
                <a:gd name="T24" fmla="*/ 435 w 827"/>
                <a:gd name="T25" fmla="*/ 875 h 1225"/>
                <a:gd name="T26" fmla="*/ 425 w 827"/>
                <a:gd name="T27" fmla="*/ 947 h 1225"/>
                <a:gd name="T28" fmla="*/ 415 w 827"/>
                <a:gd name="T29" fmla="*/ 1015 h 1225"/>
                <a:gd name="T30" fmla="*/ 409 w 827"/>
                <a:gd name="T31" fmla="*/ 1077 h 1225"/>
                <a:gd name="T32" fmla="*/ 406 w 827"/>
                <a:gd name="T33" fmla="*/ 1134 h 1225"/>
                <a:gd name="T34" fmla="*/ 402 w 827"/>
                <a:gd name="T35" fmla="*/ 1183 h 1225"/>
                <a:gd name="T36" fmla="*/ 399 w 827"/>
                <a:gd name="T37" fmla="*/ 1225 h 1225"/>
                <a:gd name="T38" fmla="*/ 342 w 827"/>
                <a:gd name="T39" fmla="*/ 1198 h 1225"/>
                <a:gd name="T40" fmla="*/ 288 w 827"/>
                <a:gd name="T41" fmla="*/ 1170 h 1225"/>
                <a:gd name="T42" fmla="*/ 238 w 827"/>
                <a:gd name="T43" fmla="*/ 1141 h 1225"/>
                <a:gd name="T44" fmla="*/ 192 w 827"/>
                <a:gd name="T45" fmla="*/ 1111 h 1225"/>
                <a:gd name="T46" fmla="*/ 150 w 827"/>
                <a:gd name="T47" fmla="*/ 1085 h 1225"/>
                <a:gd name="T48" fmla="*/ 113 w 827"/>
                <a:gd name="T49" fmla="*/ 1059 h 1225"/>
                <a:gd name="T50" fmla="*/ 80 w 827"/>
                <a:gd name="T51" fmla="*/ 1035 h 1225"/>
                <a:gd name="T52" fmla="*/ 52 w 827"/>
                <a:gd name="T53" fmla="*/ 1015 h 1225"/>
                <a:gd name="T54" fmla="*/ 30 w 827"/>
                <a:gd name="T55" fmla="*/ 997 h 1225"/>
                <a:gd name="T56" fmla="*/ 13 w 827"/>
                <a:gd name="T57" fmla="*/ 984 h 1225"/>
                <a:gd name="T58" fmla="*/ 4 w 827"/>
                <a:gd name="T59" fmla="*/ 976 h 1225"/>
                <a:gd name="T60" fmla="*/ 0 w 827"/>
                <a:gd name="T61" fmla="*/ 973 h 1225"/>
                <a:gd name="T62" fmla="*/ 38 w 827"/>
                <a:gd name="T63" fmla="*/ 852 h 1225"/>
                <a:gd name="T64" fmla="*/ 77 w 827"/>
                <a:gd name="T65" fmla="*/ 743 h 1225"/>
                <a:gd name="T66" fmla="*/ 119 w 827"/>
                <a:gd name="T67" fmla="*/ 640 h 1225"/>
                <a:gd name="T68" fmla="*/ 161 w 827"/>
                <a:gd name="T69" fmla="*/ 548 h 1225"/>
                <a:gd name="T70" fmla="*/ 207 w 827"/>
                <a:gd name="T71" fmla="*/ 464 h 1225"/>
                <a:gd name="T72" fmla="*/ 253 w 827"/>
                <a:gd name="T73" fmla="*/ 388 h 1225"/>
                <a:gd name="T74" fmla="*/ 301 w 827"/>
                <a:gd name="T75" fmla="*/ 319 h 1225"/>
                <a:gd name="T76" fmla="*/ 350 w 827"/>
                <a:gd name="T77" fmla="*/ 259 h 1225"/>
                <a:gd name="T78" fmla="*/ 401 w 827"/>
                <a:gd name="T79" fmla="*/ 205 h 1225"/>
                <a:gd name="T80" fmla="*/ 453 w 827"/>
                <a:gd name="T81" fmla="*/ 160 h 1225"/>
                <a:gd name="T82" fmla="*/ 505 w 827"/>
                <a:gd name="T83" fmla="*/ 119 h 1225"/>
                <a:gd name="T84" fmla="*/ 559 w 827"/>
                <a:gd name="T85" fmla="*/ 86 h 1225"/>
                <a:gd name="T86" fmla="*/ 611 w 827"/>
                <a:gd name="T87" fmla="*/ 59 h 1225"/>
                <a:gd name="T88" fmla="*/ 666 w 827"/>
                <a:gd name="T89" fmla="*/ 36 h 1225"/>
                <a:gd name="T90" fmla="*/ 720 w 827"/>
                <a:gd name="T91" fmla="*/ 20 h 1225"/>
                <a:gd name="T92" fmla="*/ 773 w 827"/>
                <a:gd name="T93" fmla="*/ 8 h 1225"/>
                <a:gd name="T94" fmla="*/ 827 w 827"/>
                <a:gd name="T95" fmla="*/ 0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7" h="1225">
                  <a:moveTo>
                    <a:pt x="827" y="0"/>
                  </a:moveTo>
                  <a:lnTo>
                    <a:pt x="770" y="55"/>
                  </a:lnTo>
                  <a:lnTo>
                    <a:pt x="718" y="117"/>
                  </a:lnTo>
                  <a:lnTo>
                    <a:pt x="673" y="184"/>
                  </a:lnTo>
                  <a:lnTo>
                    <a:pt x="630" y="256"/>
                  </a:lnTo>
                  <a:lnTo>
                    <a:pt x="593" y="329"/>
                  </a:lnTo>
                  <a:lnTo>
                    <a:pt x="559" y="407"/>
                  </a:lnTo>
                  <a:lnTo>
                    <a:pt x="529" y="486"/>
                  </a:lnTo>
                  <a:lnTo>
                    <a:pt x="505" y="566"/>
                  </a:lnTo>
                  <a:lnTo>
                    <a:pt x="482" y="645"/>
                  </a:lnTo>
                  <a:lnTo>
                    <a:pt x="464" y="724"/>
                  </a:lnTo>
                  <a:lnTo>
                    <a:pt x="448" y="800"/>
                  </a:lnTo>
                  <a:lnTo>
                    <a:pt x="435" y="875"/>
                  </a:lnTo>
                  <a:lnTo>
                    <a:pt x="425" y="947"/>
                  </a:lnTo>
                  <a:lnTo>
                    <a:pt x="415" y="1015"/>
                  </a:lnTo>
                  <a:lnTo>
                    <a:pt x="409" y="1077"/>
                  </a:lnTo>
                  <a:lnTo>
                    <a:pt x="406" y="1134"/>
                  </a:lnTo>
                  <a:lnTo>
                    <a:pt x="402" y="1183"/>
                  </a:lnTo>
                  <a:lnTo>
                    <a:pt x="399" y="1225"/>
                  </a:lnTo>
                  <a:lnTo>
                    <a:pt x="342" y="1198"/>
                  </a:lnTo>
                  <a:lnTo>
                    <a:pt x="288" y="1170"/>
                  </a:lnTo>
                  <a:lnTo>
                    <a:pt x="238" y="1141"/>
                  </a:lnTo>
                  <a:lnTo>
                    <a:pt x="192" y="1111"/>
                  </a:lnTo>
                  <a:lnTo>
                    <a:pt x="150" y="1085"/>
                  </a:lnTo>
                  <a:lnTo>
                    <a:pt x="113" y="1059"/>
                  </a:lnTo>
                  <a:lnTo>
                    <a:pt x="80" y="1035"/>
                  </a:lnTo>
                  <a:lnTo>
                    <a:pt x="52" y="1015"/>
                  </a:lnTo>
                  <a:lnTo>
                    <a:pt x="30" y="997"/>
                  </a:lnTo>
                  <a:lnTo>
                    <a:pt x="13" y="984"/>
                  </a:lnTo>
                  <a:lnTo>
                    <a:pt x="4" y="976"/>
                  </a:lnTo>
                  <a:lnTo>
                    <a:pt x="0" y="973"/>
                  </a:lnTo>
                  <a:lnTo>
                    <a:pt x="38" y="852"/>
                  </a:lnTo>
                  <a:lnTo>
                    <a:pt x="77" y="743"/>
                  </a:lnTo>
                  <a:lnTo>
                    <a:pt x="119" y="640"/>
                  </a:lnTo>
                  <a:lnTo>
                    <a:pt x="161" y="548"/>
                  </a:lnTo>
                  <a:lnTo>
                    <a:pt x="207" y="464"/>
                  </a:lnTo>
                  <a:lnTo>
                    <a:pt x="253" y="388"/>
                  </a:lnTo>
                  <a:lnTo>
                    <a:pt x="301" y="319"/>
                  </a:lnTo>
                  <a:lnTo>
                    <a:pt x="350" y="259"/>
                  </a:lnTo>
                  <a:lnTo>
                    <a:pt x="401" y="205"/>
                  </a:lnTo>
                  <a:lnTo>
                    <a:pt x="453" y="160"/>
                  </a:lnTo>
                  <a:lnTo>
                    <a:pt x="505" y="119"/>
                  </a:lnTo>
                  <a:lnTo>
                    <a:pt x="559" y="86"/>
                  </a:lnTo>
                  <a:lnTo>
                    <a:pt x="611" y="59"/>
                  </a:lnTo>
                  <a:lnTo>
                    <a:pt x="666" y="36"/>
                  </a:lnTo>
                  <a:lnTo>
                    <a:pt x="720" y="20"/>
                  </a:lnTo>
                  <a:lnTo>
                    <a:pt x="773" y="8"/>
                  </a:lnTo>
                  <a:lnTo>
                    <a:pt x="827"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5" name="Group 20">
            <a:extLst>
              <a:ext uri="{FF2B5EF4-FFF2-40B4-BE49-F238E27FC236}">
                <a16:creationId xmlns:a16="http://schemas.microsoft.com/office/drawing/2014/main" id="{60403790-F1A4-425A-B9B8-E3FB4768668E}"/>
              </a:ext>
            </a:extLst>
          </p:cNvPr>
          <p:cNvGrpSpPr/>
          <p:nvPr/>
        </p:nvGrpSpPr>
        <p:grpSpPr>
          <a:xfrm>
            <a:off x="4955860" y="1906698"/>
            <a:ext cx="722360" cy="713405"/>
            <a:chOff x="4856256" y="1365678"/>
            <a:chExt cx="722360" cy="713405"/>
          </a:xfrm>
        </p:grpSpPr>
        <p:sp>
          <p:nvSpPr>
            <p:cNvPr id="26" name="Freeform 26">
              <a:extLst>
                <a:ext uri="{FF2B5EF4-FFF2-40B4-BE49-F238E27FC236}">
                  <a16:creationId xmlns:a16="http://schemas.microsoft.com/office/drawing/2014/main" id="{212369EB-5E00-4114-A1CD-DAF2532A0319}"/>
                </a:ext>
              </a:extLst>
            </p:cNvPr>
            <p:cNvSpPr>
              <a:spLocks/>
            </p:cNvSpPr>
            <p:nvPr/>
          </p:nvSpPr>
          <p:spPr bwMode="auto">
            <a:xfrm>
              <a:off x="4856256" y="1365678"/>
              <a:ext cx="722360" cy="713405"/>
            </a:xfrm>
            <a:custGeom>
              <a:avLst/>
              <a:gdLst>
                <a:gd name="T0" fmla="*/ 597 w 968"/>
                <a:gd name="T1" fmla="*/ 2 h 955"/>
                <a:gd name="T2" fmla="*/ 675 w 968"/>
                <a:gd name="T3" fmla="*/ 6 h 955"/>
                <a:gd name="T4" fmla="*/ 747 w 968"/>
                <a:gd name="T5" fmla="*/ 16 h 955"/>
                <a:gd name="T6" fmla="*/ 812 w 968"/>
                <a:gd name="T7" fmla="*/ 29 h 955"/>
                <a:gd name="T8" fmla="*/ 866 w 968"/>
                <a:gd name="T9" fmla="*/ 42 h 955"/>
                <a:gd name="T10" fmla="*/ 906 w 968"/>
                <a:gd name="T11" fmla="*/ 54 h 955"/>
                <a:gd name="T12" fmla="*/ 932 w 968"/>
                <a:gd name="T13" fmla="*/ 62 h 955"/>
                <a:gd name="T14" fmla="*/ 942 w 968"/>
                <a:gd name="T15" fmla="*/ 65 h 955"/>
                <a:gd name="T16" fmla="*/ 965 w 968"/>
                <a:gd name="T17" fmla="*/ 244 h 955"/>
                <a:gd name="T18" fmla="*/ 966 w 968"/>
                <a:gd name="T19" fmla="*/ 399 h 955"/>
                <a:gd name="T20" fmla="*/ 949 w 968"/>
                <a:gd name="T21" fmla="*/ 530 h 955"/>
                <a:gd name="T22" fmla="*/ 914 w 968"/>
                <a:gd name="T23" fmla="*/ 639 h 955"/>
                <a:gd name="T24" fmla="*/ 867 w 968"/>
                <a:gd name="T25" fmla="*/ 728 h 955"/>
                <a:gd name="T26" fmla="*/ 807 w 968"/>
                <a:gd name="T27" fmla="*/ 800 h 955"/>
                <a:gd name="T28" fmla="*/ 737 w 968"/>
                <a:gd name="T29" fmla="*/ 855 h 955"/>
                <a:gd name="T30" fmla="*/ 660 w 968"/>
                <a:gd name="T31" fmla="*/ 898 h 955"/>
                <a:gd name="T32" fmla="*/ 581 w 968"/>
                <a:gd name="T33" fmla="*/ 927 h 955"/>
                <a:gd name="T34" fmla="*/ 496 w 968"/>
                <a:gd name="T35" fmla="*/ 945 h 955"/>
                <a:gd name="T36" fmla="*/ 413 w 968"/>
                <a:gd name="T37" fmla="*/ 953 h 955"/>
                <a:gd name="T38" fmla="*/ 332 w 968"/>
                <a:gd name="T39" fmla="*/ 955 h 955"/>
                <a:gd name="T40" fmla="*/ 254 w 968"/>
                <a:gd name="T41" fmla="*/ 952 h 955"/>
                <a:gd name="T42" fmla="*/ 185 w 968"/>
                <a:gd name="T43" fmla="*/ 943 h 955"/>
                <a:gd name="T44" fmla="*/ 123 w 968"/>
                <a:gd name="T45" fmla="*/ 935 h 955"/>
                <a:gd name="T46" fmla="*/ 74 w 968"/>
                <a:gd name="T47" fmla="*/ 925 h 955"/>
                <a:gd name="T48" fmla="*/ 40 w 968"/>
                <a:gd name="T49" fmla="*/ 917 h 955"/>
                <a:gd name="T50" fmla="*/ 21 w 968"/>
                <a:gd name="T51" fmla="*/ 912 h 955"/>
                <a:gd name="T52" fmla="*/ 8 w 968"/>
                <a:gd name="T53" fmla="*/ 813 h 955"/>
                <a:gd name="T54" fmla="*/ 0 w 968"/>
                <a:gd name="T55" fmla="*/ 637 h 955"/>
                <a:gd name="T56" fmla="*/ 11 w 968"/>
                <a:gd name="T57" fmla="*/ 487 h 955"/>
                <a:gd name="T58" fmla="*/ 39 w 968"/>
                <a:gd name="T59" fmla="*/ 362 h 955"/>
                <a:gd name="T60" fmla="*/ 81 w 968"/>
                <a:gd name="T61" fmla="*/ 259 h 955"/>
                <a:gd name="T62" fmla="*/ 136 w 968"/>
                <a:gd name="T63" fmla="*/ 178 h 955"/>
                <a:gd name="T64" fmla="*/ 201 w 968"/>
                <a:gd name="T65" fmla="*/ 112 h 955"/>
                <a:gd name="T66" fmla="*/ 273 w 968"/>
                <a:gd name="T67" fmla="*/ 65 h 955"/>
                <a:gd name="T68" fmla="*/ 351 w 968"/>
                <a:gd name="T69" fmla="*/ 32 h 955"/>
                <a:gd name="T70" fmla="*/ 434 w 968"/>
                <a:gd name="T71" fmla="*/ 13 h 955"/>
                <a:gd name="T72" fmla="*/ 516 w 968"/>
                <a:gd name="T73" fmla="*/ 2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8" h="955">
                  <a:moveTo>
                    <a:pt x="556" y="0"/>
                  </a:moveTo>
                  <a:lnTo>
                    <a:pt x="597" y="2"/>
                  </a:lnTo>
                  <a:lnTo>
                    <a:pt x="638" y="3"/>
                  </a:lnTo>
                  <a:lnTo>
                    <a:pt x="675" y="6"/>
                  </a:lnTo>
                  <a:lnTo>
                    <a:pt x="713" y="11"/>
                  </a:lnTo>
                  <a:lnTo>
                    <a:pt x="747" y="16"/>
                  </a:lnTo>
                  <a:lnTo>
                    <a:pt x="781" y="23"/>
                  </a:lnTo>
                  <a:lnTo>
                    <a:pt x="812" y="29"/>
                  </a:lnTo>
                  <a:lnTo>
                    <a:pt x="839" y="36"/>
                  </a:lnTo>
                  <a:lnTo>
                    <a:pt x="866" y="42"/>
                  </a:lnTo>
                  <a:lnTo>
                    <a:pt x="887" y="49"/>
                  </a:lnTo>
                  <a:lnTo>
                    <a:pt x="906" y="54"/>
                  </a:lnTo>
                  <a:lnTo>
                    <a:pt x="921" y="59"/>
                  </a:lnTo>
                  <a:lnTo>
                    <a:pt x="932" y="62"/>
                  </a:lnTo>
                  <a:lnTo>
                    <a:pt x="939" y="65"/>
                  </a:lnTo>
                  <a:lnTo>
                    <a:pt x="942" y="65"/>
                  </a:lnTo>
                  <a:lnTo>
                    <a:pt x="957" y="158"/>
                  </a:lnTo>
                  <a:lnTo>
                    <a:pt x="965" y="244"/>
                  </a:lnTo>
                  <a:lnTo>
                    <a:pt x="968" y="324"/>
                  </a:lnTo>
                  <a:lnTo>
                    <a:pt x="966" y="399"/>
                  </a:lnTo>
                  <a:lnTo>
                    <a:pt x="960" y="466"/>
                  </a:lnTo>
                  <a:lnTo>
                    <a:pt x="949" y="530"/>
                  </a:lnTo>
                  <a:lnTo>
                    <a:pt x="934" y="587"/>
                  </a:lnTo>
                  <a:lnTo>
                    <a:pt x="914" y="639"/>
                  </a:lnTo>
                  <a:lnTo>
                    <a:pt x="892" y="686"/>
                  </a:lnTo>
                  <a:lnTo>
                    <a:pt x="867" y="728"/>
                  </a:lnTo>
                  <a:lnTo>
                    <a:pt x="838" y="766"/>
                  </a:lnTo>
                  <a:lnTo>
                    <a:pt x="807" y="800"/>
                  </a:lnTo>
                  <a:lnTo>
                    <a:pt x="773" y="829"/>
                  </a:lnTo>
                  <a:lnTo>
                    <a:pt x="737" y="855"/>
                  </a:lnTo>
                  <a:lnTo>
                    <a:pt x="699" y="878"/>
                  </a:lnTo>
                  <a:lnTo>
                    <a:pt x="660" y="898"/>
                  </a:lnTo>
                  <a:lnTo>
                    <a:pt x="621" y="914"/>
                  </a:lnTo>
                  <a:lnTo>
                    <a:pt x="581" y="927"/>
                  </a:lnTo>
                  <a:lnTo>
                    <a:pt x="538" y="937"/>
                  </a:lnTo>
                  <a:lnTo>
                    <a:pt x="496" y="945"/>
                  </a:lnTo>
                  <a:lnTo>
                    <a:pt x="454" y="950"/>
                  </a:lnTo>
                  <a:lnTo>
                    <a:pt x="413" y="953"/>
                  </a:lnTo>
                  <a:lnTo>
                    <a:pt x="371" y="955"/>
                  </a:lnTo>
                  <a:lnTo>
                    <a:pt x="332" y="955"/>
                  </a:lnTo>
                  <a:lnTo>
                    <a:pt x="293" y="955"/>
                  </a:lnTo>
                  <a:lnTo>
                    <a:pt x="254" y="952"/>
                  </a:lnTo>
                  <a:lnTo>
                    <a:pt x="218" y="948"/>
                  </a:lnTo>
                  <a:lnTo>
                    <a:pt x="185" y="943"/>
                  </a:lnTo>
                  <a:lnTo>
                    <a:pt x="153" y="940"/>
                  </a:lnTo>
                  <a:lnTo>
                    <a:pt x="123" y="935"/>
                  </a:lnTo>
                  <a:lnTo>
                    <a:pt x="97" y="930"/>
                  </a:lnTo>
                  <a:lnTo>
                    <a:pt x="74" y="925"/>
                  </a:lnTo>
                  <a:lnTo>
                    <a:pt x="55" y="921"/>
                  </a:lnTo>
                  <a:lnTo>
                    <a:pt x="40" y="917"/>
                  </a:lnTo>
                  <a:lnTo>
                    <a:pt x="29" y="914"/>
                  </a:lnTo>
                  <a:lnTo>
                    <a:pt x="21" y="912"/>
                  </a:lnTo>
                  <a:lnTo>
                    <a:pt x="19" y="911"/>
                  </a:lnTo>
                  <a:lnTo>
                    <a:pt x="8" y="813"/>
                  </a:lnTo>
                  <a:lnTo>
                    <a:pt x="1" y="722"/>
                  </a:lnTo>
                  <a:lnTo>
                    <a:pt x="0" y="637"/>
                  </a:lnTo>
                  <a:lnTo>
                    <a:pt x="3" y="559"/>
                  </a:lnTo>
                  <a:lnTo>
                    <a:pt x="11" y="487"/>
                  </a:lnTo>
                  <a:lnTo>
                    <a:pt x="22" y="422"/>
                  </a:lnTo>
                  <a:lnTo>
                    <a:pt x="39" y="362"/>
                  </a:lnTo>
                  <a:lnTo>
                    <a:pt x="58" y="308"/>
                  </a:lnTo>
                  <a:lnTo>
                    <a:pt x="81" y="259"/>
                  </a:lnTo>
                  <a:lnTo>
                    <a:pt x="107" y="215"/>
                  </a:lnTo>
                  <a:lnTo>
                    <a:pt x="136" y="178"/>
                  </a:lnTo>
                  <a:lnTo>
                    <a:pt x="167" y="143"/>
                  </a:lnTo>
                  <a:lnTo>
                    <a:pt x="201" y="112"/>
                  </a:lnTo>
                  <a:lnTo>
                    <a:pt x="236" y="88"/>
                  </a:lnTo>
                  <a:lnTo>
                    <a:pt x="273" y="65"/>
                  </a:lnTo>
                  <a:lnTo>
                    <a:pt x="312" y="47"/>
                  </a:lnTo>
                  <a:lnTo>
                    <a:pt x="351" y="32"/>
                  </a:lnTo>
                  <a:lnTo>
                    <a:pt x="392" y="21"/>
                  </a:lnTo>
                  <a:lnTo>
                    <a:pt x="434" y="13"/>
                  </a:lnTo>
                  <a:lnTo>
                    <a:pt x="475" y="6"/>
                  </a:lnTo>
                  <a:lnTo>
                    <a:pt x="516" y="2"/>
                  </a:lnTo>
                  <a:lnTo>
                    <a:pt x="556"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7" name="Freeform 33">
              <a:extLst>
                <a:ext uri="{FF2B5EF4-FFF2-40B4-BE49-F238E27FC236}">
                  <a16:creationId xmlns:a16="http://schemas.microsoft.com/office/drawing/2014/main" id="{19B93779-2881-4236-8711-5E185A7995A8}"/>
                </a:ext>
              </a:extLst>
            </p:cNvPr>
            <p:cNvSpPr>
              <a:spLocks/>
            </p:cNvSpPr>
            <p:nvPr/>
          </p:nvSpPr>
          <p:spPr bwMode="auto">
            <a:xfrm>
              <a:off x="4856261" y="1814912"/>
              <a:ext cx="647736" cy="264169"/>
            </a:xfrm>
            <a:custGeom>
              <a:avLst/>
              <a:gdLst>
                <a:gd name="T0" fmla="*/ 0 w 869"/>
                <a:gd name="T1" fmla="*/ 0 h 354"/>
                <a:gd name="T2" fmla="*/ 26 w 869"/>
                <a:gd name="T3" fmla="*/ 13 h 354"/>
                <a:gd name="T4" fmla="*/ 60 w 869"/>
                <a:gd name="T5" fmla="*/ 28 h 354"/>
                <a:gd name="T6" fmla="*/ 99 w 869"/>
                <a:gd name="T7" fmla="*/ 44 h 354"/>
                <a:gd name="T8" fmla="*/ 144 w 869"/>
                <a:gd name="T9" fmla="*/ 62 h 354"/>
                <a:gd name="T10" fmla="*/ 195 w 869"/>
                <a:gd name="T11" fmla="*/ 82 h 354"/>
                <a:gd name="T12" fmla="*/ 250 w 869"/>
                <a:gd name="T13" fmla="*/ 100 h 354"/>
                <a:gd name="T14" fmla="*/ 309 w 869"/>
                <a:gd name="T15" fmla="*/ 118 h 354"/>
                <a:gd name="T16" fmla="*/ 369 w 869"/>
                <a:gd name="T17" fmla="*/ 134 h 354"/>
                <a:gd name="T18" fmla="*/ 433 w 869"/>
                <a:gd name="T19" fmla="*/ 147 h 354"/>
                <a:gd name="T20" fmla="*/ 496 w 869"/>
                <a:gd name="T21" fmla="*/ 158 h 354"/>
                <a:gd name="T22" fmla="*/ 561 w 869"/>
                <a:gd name="T23" fmla="*/ 165 h 354"/>
                <a:gd name="T24" fmla="*/ 626 w 869"/>
                <a:gd name="T25" fmla="*/ 168 h 354"/>
                <a:gd name="T26" fmla="*/ 690 w 869"/>
                <a:gd name="T27" fmla="*/ 166 h 354"/>
                <a:gd name="T28" fmla="*/ 752 w 869"/>
                <a:gd name="T29" fmla="*/ 158 h 354"/>
                <a:gd name="T30" fmla="*/ 812 w 869"/>
                <a:gd name="T31" fmla="*/ 145 h 354"/>
                <a:gd name="T32" fmla="*/ 869 w 869"/>
                <a:gd name="T33" fmla="*/ 124 h 354"/>
                <a:gd name="T34" fmla="*/ 831 w 869"/>
                <a:gd name="T35" fmla="*/ 173 h 354"/>
                <a:gd name="T36" fmla="*/ 791 w 869"/>
                <a:gd name="T37" fmla="*/ 215 h 354"/>
                <a:gd name="T38" fmla="*/ 745 w 869"/>
                <a:gd name="T39" fmla="*/ 250 h 354"/>
                <a:gd name="T40" fmla="*/ 696 w 869"/>
                <a:gd name="T41" fmla="*/ 279 h 354"/>
                <a:gd name="T42" fmla="*/ 646 w 869"/>
                <a:gd name="T43" fmla="*/ 303 h 354"/>
                <a:gd name="T44" fmla="*/ 594 w 869"/>
                <a:gd name="T45" fmla="*/ 321 h 354"/>
                <a:gd name="T46" fmla="*/ 540 w 869"/>
                <a:gd name="T47" fmla="*/ 336 h 354"/>
                <a:gd name="T48" fmla="*/ 486 w 869"/>
                <a:gd name="T49" fmla="*/ 346 h 354"/>
                <a:gd name="T50" fmla="*/ 433 w 869"/>
                <a:gd name="T51" fmla="*/ 351 h 354"/>
                <a:gd name="T52" fmla="*/ 379 w 869"/>
                <a:gd name="T53" fmla="*/ 354 h 354"/>
                <a:gd name="T54" fmla="*/ 327 w 869"/>
                <a:gd name="T55" fmla="*/ 354 h 354"/>
                <a:gd name="T56" fmla="*/ 276 w 869"/>
                <a:gd name="T57" fmla="*/ 352 h 354"/>
                <a:gd name="T58" fmla="*/ 229 w 869"/>
                <a:gd name="T59" fmla="*/ 349 h 354"/>
                <a:gd name="T60" fmla="*/ 185 w 869"/>
                <a:gd name="T61" fmla="*/ 344 h 354"/>
                <a:gd name="T62" fmla="*/ 144 w 869"/>
                <a:gd name="T63" fmla="*/ 338 h 354"/>
                <a:gd name="T64" fmla="*/ 109 w 869"/>
                <a:gd name="T65" fmla="*/ 331 h 354"/>
                <a:gd name="T66" fmla="*/ 78 w 869"/>
                <a:gd name="T67" fmla="*/ 324 h 354"/>
                <a:gd name="T68" fmla="*/ 53 w 869"/>
                <a:gd name="T69" fmla="*/ 320 h 354"/>
                <a:gd name="T70" fmla="*/ 34 w 869"/>
                <a:gd name="T71" fmla="*/ 315 h 354"/>
                <a:gd name="T72" fmla="*/ 22 w 869"/>
                <a:gd name="T73" fmla="*/ 311 h 354"/>
                <a:gd name="T74" fmla="*/ 19 w 869"/>
                <a:gd name="T75" fmla="*/ 310 h 354"/>
                <a:gd name="T76" fmla="*/ 8 w 869"/>
                <a:gd name="T77" fmla="*/ 225 h 354"/>
                <a:gd name="T78" fmla="*/ 1 w 869"/>
                <a:gd name="T79" fmla="*/ 145 h 354"/>
                <a:gd name="T80" fmla="*/ 0 w 869"/>
                <a:gd name="T81" fmla="*/ 70 h 354"/>
                <a:gd name="T82" fmla="*/ 0 w 869"/>
                <a:gd name="T83"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69" h="354">
                  <a:moveTo>
                    <a:pt x="0" y="0"/>
                  </a:moveTo>
                  <a:lnTo>
                    <a:pt x="26" y="13"/>
                  </a:lnTo>
                  <a:lnTo>
                    <a:pt x="60" y="28"/>
                  </a:lnTo>
                  <a:lnTo>
                    <a:pt x="99" y="44"/>
                  </a:lnTo>
                  <a:lnTo>
                    <a:pt x="144" y="62"/>
                  </a:lnTo>
                  <a:lnTo>
                    <a:pt x="195" y="82"/>
                  </a:lnTo>
                  <a:lnTo>
                    <a:pt x="250" y="100"/>
                  </a:lnTo>
                  <a:lnTo>
                    <a:pt x="309" y="118"/>
                  </a:lnTo>
                  <a:lnTo>
                    <a:pt x="369" y="134"/>
                  </a:lnTo>
                  <a:lnTo>
                    <a:pt x="433" y="147"/>
                  </a:lnTo>
                  <a:lnTo>
                    <a:pt x="496" y="158"/>
                  </a:lnTo>
                  <a:lnTo>
                    <a:pt x="561" y="165"/>
                  </a:lnTo>
                  <a:lnTo>
                    <a:pt x="626" y="168"/>
                  </a:lnTo>
                  <a:lnTo>
                    <a:pt x="690" y="166"/>
                  </a:lnTo>
                  <a:lnTo>
                    <a:pt x="752" y="158"/>
                  </a:lnTo>
                  <a:lnTo>
                    <a:pt x="812" y="145"/>
                  </a:lnTo>
                  <a:lnTo>
                    <a:pt x="869" y="124"/>
                  </a:lnTo>
                  <a:lnTo>
                    <a:pt x="831" y="173"/>
                  </a:lnTo>
                  <a:lnTo>
                    <a:pt x="791" y="215"/>
                  </a:lnTo>
                  <a:lnTo>
                    <a:pt x="745" y="250"/>
                  </a:lnTo>
                  <a:lnTo>
                    <a:pt x="696" y="279"/>
                  </a:lnTo>
                  <a:lnTo>
                    <a:pt x="646" y="303"/>
                  </a:lnTo>
                  <a:lnTo>
                    <a:pt x="594" y="321"/>
                  </a:lnTo>
                  <a:lnTo>
                    <a:pt x="540" y="336"/>
                  </a:lnTo>
                  <a:lnTo>
                    <a:pt x="486" y="346"/>
                  </a:lnTo>
                  <a:lnTo>
                    <a:pt x="433" y="351"/>
                  </a:lnTo>
                  <a:lnTo>
                    <a:pt x="379" y="354"/>
                  </a:lnTo>
                  <a:lnTo>
                    <a:pt x="327" y="354"/>
                  </a:lnTo>
                  <a:lnTo>
                    <a:pt x="276" y="352"/>
                  </a:lnTo>
                  <a:lnTo>
                    <a:pt x="229" y="349"/>
                  </a:lnTo>
                  <a:lnTo>
                    <a:pt x="185" y="344"/>
                  </a:lnTo>
                  <a:lnTo>
                    <a:pt x="144" y="338"/>
                  </a:lnTo>
                  <a:lnTo>
                    <a:pt x="109" y="331"/>
                  </a:lnTo>
                  <a:lnTo>
                    <a:pt x="78" y="324"/>
                  </a:lnTo>
                  <a:lnTo>
                    <a:pt x="53" y="320"/>
                  </a:lnTo>
                  <a:lnTo>
                    <a:pt x="34" y="315"/>
                  </a:lnTo>
                  <a:lnTo>
                    <a:pt x="22" y="311"/>
                  </a:lnTo>
                  <a:lnTo>
                    <a:pt x="19" y="310"/>
                  </a:lnTo>
                  <a:lnTo>
                    <a:pt x="8" y="225"/>
                  </a:lnTo>
                  <a:lnTo>
                    <a:pt x="1" y="145"/>
                  </a:lnTo>
                  <a:lnTo>
                    <a:pt x="0" y="70"/>
                  </a:lnTo>
                  <a:lnTo>
                    <a:pt x="0"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28" name="TextBox 112">
            <a:extLst>
              <a:ext uri="{FF2B5EF4-FFF2-40B4-BE49-F238E27FC236}">
                <a16:creationId xmlns:a16="http://schemas.microsoft.com/office/drawing/2014/main" id="{49F34D75-3A26-4D98-A5D8-CC4F4521424D}"/>
              </a:ext>
            </a:extLst>
          </p:cNvPr>
          <p:cNvSpPr txBox="1"/>
          <p:nvPr/>
        </p:nvSpPr>
        <p:spPr>
          <a:xfrm>
            <a:off x="539551" y="4396475"/>
            <a:ext cx="2103154" cy="590931"/>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Reduction du tourisme industriel </a:t>
            </a:r>
            <a:endParaRPr lang="fr-FR" dirty="0">
              <a:solidFill>
                <a:schemeClr val="tx2"/>
              </a:solidFill>
              <a:latin typeface="Arial" pitchFamily="34" charset="0"/>
              <a:cs typeface="Arial" pitchFamily="34" charset="0"/>
            </a:endParaRPr>
          </a:p>
        </p:txBody>
      </p:sp>
      <p:sp>
        <p:nvSpPr>
          <p:cNvPr id="72" name="TextBox 156">
            <a:extLst>
              <a:ext uri="{FF2B5EF4-FFF2-40B4-BE49-F238E27FC236}">
                <a16:creationId xmlns:a16="http://schemas.microsoft.com/office/drawing/2014/main" id="{B658F6CB-D6BC-4D4F-914F-F4E61D484931}"/>
              </a:ext>
            </a:extLst>
          </p:cNvPr>
          <p:cNvSpPr txBox="1"/>
          <p:nvPr/>
        </p:nvSpPr>
        <p:spPr>
          <a:xfrm>
            <a:off x="750565" y="2199689"/>
            <a:ext cx="2410693" cy="1089529"/>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Limitation de l’extraction des ressources naturelles (mine secondaire)</a:t>
            </a:r>
            <a:endParaRPr lang="fr-FR" dirty="0">
              <a:solidFill>
                <a:schemeClr val="tx2"/>
              </a:solidFill>
              <a:latin typeface="Arial" pitchFamily="34" charset="0"/>
              <a:cs typeface="Arial" pitchFamily="34" charset="0"/>
            </a:endParaRPr>
          </a:p>
        </p:txBody>
      </p:sp>
      <p:sp>
        <p:nvSpPr>
          <p:cNvPr id="73" name="TextBox 157">
            <a:extLst>
              <a:ext uri="{FF2B5EF4-FFF2-40B4-BE49-F238E27FC236}">
                <a16:creationId xmlns:a16="http://schemas.microsoft.com/office/drawing/2014/main" id="{47271C29-1FC8-4064-AC3E-1E9A56800574}"/>
              </a:ext>
            </a:extLst>
          </p:cNvPr>
          <p:cNvSpPr txBox="1"/>
          <p:nvPr/>
        </p:nvSpPr>
        <p:spPr>
          <a:xfrm>
            <a:off x="6487209" y="3860944"/>
            <a:ext cx="2103154" cy="840230"/>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Filière avec un impact carbone limité  </a:t>
            </a:r>
            <a:endParaRPr lang="fr-FR" dirty="0">
              <a:solidFill>
                <a:schemeClr val="tx2"/>
              </a:solidFill>
              <a:latin typeface="Arial" pitchFamily="34" charset="0"/>
              <a:cs typeface="Arial" pitchFamily="34" charset="0"/>
            </a:endParaRPr>
          </a:p>
        </p:txBody>
      </p:sp>
      <p:sp>
        <p:nvSpPr>
          <p:cNvPr id="74" name="TextBox 158">
            <a:extLst>
              <a:ext uri="{FF2B5EF4-FFF2-40B4-BE49-F238E27FC236}">
                <a16:creationId xmlns:a16="http://schemas.microsoft.com/office/drawing/2014/main" id="{CF146C29-3ECC-45C0-B98A-C5476482F870}"/>
              </a:ext>
            </a:extLst>
          </p:cNvPr>
          <p:cNvSpPr txBox="1"/>
          <p:nvPr/>
        </p:nvSpPr>
        <p:spPr>
          <a:xfrm>
            <a:off x="6580403" y="2153523"/>
            <a:ext cx="2103154" cy="590931"/>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Allongement de la durée d’usage</a:t>
            </a:r>
            <a:endParaRPr lang="fr-FR" dirty="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647707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78CDD25D-A5C8-4AAC-A649-3F109A0A9C7C}"/>
              </a:ext>
            </a:extLst>
          </p:cNvPr>
          <p:cNvGraphicFramePr>
            <a:graphicFrameLocks noChangeAspect="1"/>
          </p:cNvGraphicFramePr>
          <p:nvPr>
            <p:custDataLst>
              <p:tags r:id="rId2"/>
            </p:custDataLst>
            <p:extLst>
              <p:ext uri="{D42A27DB-BD31-4B8C-83A1-F6EECF244321}">
                <p14:modId xmlns:p14="http://schemas.microsoft.com/office/powerpoint/2010/main" val="2247524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Diapositive think-cell" r:id="rId5" imgW="395" imgH="394" progId="TCLayout.ActiveDocument.1">
                  <p:embed/>
                </p:oleObj>
              </mc:Choice>
              <mc:Fallback>
                <p:oleObj name="Diapositive think-cell" r:id="rId5" imgW="395" imgH="394" progId="TCLayout.ActiveDocument.1">
                  <p:embed/>
                  <p:pic>
                    <p:nvPicPr>
                      <p:cNvPr id="8" name="Objet 7" hidden="1">
                        <a:extLst>
                          <a:ext uri="{FF2B5EF4-FFF2-40B4-BE49-F238E27FC236}">
                            <a16:creationId xmlns:a16="http://schemas.microsoft.com/office/drawing/2014/main" id="{78CDD25D-A5C8-4AAC-A649-3F109A0A9C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3" name="Rectangle : coins arrondis 162">
            <a:extLst>
              <a:ext uri="{FF2B5EF4-FFF2-40B4-BE49-F238E27FC236}">
                <a16:creationId xmlns:a16="http://schemas.microsoft.com/office/drawing/2014/main" id="{E0BCBAD2-961D-4DD5-BE86-7381C21D29E7}"/>
              </a:ext>
            </a:extLst>
          </p:cNvPr>
          <p:cNvSpPr/>
          <p:nvPr/>
        </p:nvSpPr>
        <p:spPr>
          <a:xfrm>
            <a:off x="4572000" y="790575"/>
            <a:ext cx="4031998" cy="5573558"/>
          </a:xfrm>
          <a:prstGeom prst="roundRect">
            <a:avLst/>
          </a:prstGeom>
          <a:solidFill>
            <a:srgbClr val="E3ED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C759A49C-0FB4-4580-B444-371646D30865}"/>
              </a:ext>
            </a:extLst>
          </p:cNvPr>
          <p:cNvSpPr>
            <a:spLocks noGrp="1"/>
          </p:cNvSpPr>
          <p:nvPr>
            <p:ph type="title"/>
          </p:nvPr>
        </p:nvSpPr>
        <p:spPr/>
        <p:txBody>
          <a:bodyPr vert="horz"/>
          <a:lstStyle/>
          <a:p>
            <a:r>
              <a:rPr lang="fr-FR" dirty="0"/>
              <a:t>La filière valorisation est moins énergivore que la voie standard (éponges)</a:t>
            </a:r>
          </a:p>
        </p:txBody>
      </p:sp>
      <p:sp>
        <p:nvSpPr>
          <p:cNvPr id="4" name="Espace réservé du texte 3">
            <a:extLst>
              <a:ext uri="{FF2B5EF4-FFF2-40B4-BE49-F238E27FC236}">
                <a16:creationId xmlns:a16="http://schemas.microsoft.com/office/drawing/2014/main" id="{767B2A99-2C16-4742-9D27-47761A6DF745}"/>
              </a:ext>
            </a:extLst>
          </p:cNvPr>
          <p:cNvSpPr>
            <a:spLocks noGrp="1"/>
          </p:cNvSpPr>
          <p:nvPr>
            <p:ph type="body" sz="quarter" idx="13"/>
          </p:nvPr>
        </p:nvSpPr>
        <p:spPr/>
        <p:txBody>
          <a:bodyPr/>
          <a:lstStyle/>
          <a:p>
            <a:r>
              <a:rPr lang="fr-FR" dirty="0"/>
              <a:t>Scope 1-2-3</a:t>
            </a:r>
          </a:p>
        </p:txBody>
      </p:sp>
      <p:sp>
        <p:nvSpPr>
          <p:cNvPr id="5" name="Espace réservé de la date 4">
            <a:extLst>
              <a:ext uri="{FF2B5EF4-FFF2-40B4-BE49-F238E27FC236}">
                <a16:creationId xmlns:a16="http://schemas.microsoft.com/office/drawing/2014/main" id="{F123DD2E-6767-4138-A3F2-2E72E90D6DBA}"/>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27319686-1374-4052-937E-83AD3BFFF6D1}"/>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B9D47447-9E36-4D81-8625-BF34F70B8846}"/>
              </a:ext>
            </a:extLst>
          </p:cNvPr>
          <p:cNvSpPr>
            <a:spLocks noGrp="1"/>
          </p:cNvSpPr>
          <p:nvPr>
            <p:ph type="sldNum" sz="quarter" idx="16"/>
          </p:nvPr>
        </p:nvSpPr>
        <p:spPr/>
        <p:txBody>
          <a:bodyPr/>
          <a:lstStyle/>
          <a:p>
            <a:fld id="{733122C9-A0B9-462F-8757-0847AD287B63}" type="slidenum">
              <a:rPr lang="fr-FR" smtClean="0"/>
              <a:pPr/>
              <a:t>18</a:t>
            </a:fld>
            <a:endParaRPr lang="fr-FR" dirty="0"/>
          </a:p>
        </p:txBody>
      </p:sp>
      <p:sp>
        <p:nvSpPr>
          <p:cNvPr id="11" name="Rectangle 10">
            <a:extLst>
              <a:ext uri="{FF2B5EF4-FFF2-40B4-BE49-F238E27FC236}">
                <a16:creationId xmlns:a16="http://schemas.microsoft.com/office/drawing/2014/main" id="{812438C4-8B71-45AE-939E-8E6C829990FB}"/>
              </a:ext>
            </a:extLst>
          </p:cNvPr>
          <p:cNvSpPr/>
          <p:nvPr/>
        </p:nvSpPr>
        <p:spPr>
          <a:xfrm>
            <a:off x="1051629" y="943770"/>
            <a:ext cx="2417884" cy="501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2"/>
                </a:solidFill>
              </a:rPr>
              <a:t>Voie standard</a:t>
            </a:r>
          </a:p>
        </p:txBody>
      </p:sp>
      <p:sp>
        <p:nvSpPr>
          <p:cNvPr id="38" name="AutoShape 25">
            <a:extLst>
              <a:ext uri="{FF2B5EF4-FFF2-40B4-BE49-F238E27FC236}">
                <a16:creationId xmlns:a16="http://schemas.microsoft.com/office/drawing/2014/main" id="{7A1FDDA7-3A7D-4171-AC25-0E206CE13471}"/>
              </a:ext>
            </a:extLst>
          </p:cNvPr>
          <p:cNvSpPr>
            <a:spLocks noChangeArrowheads="1"/>
          </p:cNvSpPr>
          <p:nvPr/>
        </p:nvSpPr>
        <p:spPr bwMode="auto">
          <a:xfrm rot="5400000">
            <a:off x="2344261" y="3649443"/>
            <a:ext cx="574675" cy="2374751"/>
          </a:xfrm>
          <a:prstGeom prst="roundRect">
            <a:avLst>
              <a:gd name="adj" fmla="val 16667"/>
            </a:avLst>
          </a:prstGeom>
          <a:noFill/>
          <a:ln w="9525">
            <a:solidFill>
              <a:schemeClr val="accent5">
                <a:lumMod val="50000"/>
              </a:schemeClr>
            </a:solidFill>
            <a:round/>
            <a:headEnd/>
            <a:tailEnd/>
          </a:ln>
          <a:effectLst/>
        </p:spPr>
        <p:txBody>
          <a:bodyPr wrap="none" anchor="ctr"/>
          <a:lstStyle/>
          <a:p>
            <a:endParaRPr lang="fr-FR"/>
          </a:p>
        </p:txBody>
      </p:sp>
      <p:sp>
        <p:nvSpPr>
          <p:cNvPr id="39" name="Text Box 26">
            <a:extLst>
              <a:ext uri="{FF2B5EF4-FFF2-40B4-BE49-F238E27FC236}">
                <a16:creationId xmlns:a16="http://schemas.microsoft.com/office/drawing/2014/main" id="{53B68B11-77BE-4C87-B220-C6EF6DEEB1B2}"/>
              </a:ext>
            </a:extLst>
          </p:cNvPr>
          <p:cNvSpPr txBox="1">
            <a:spLocks noChangeArrowheads="1"/>
          </p:cNvSpPr>
          <p:nvPr/>
        </p:nvSpPr>
        <p:spPr bwMode="auto">
          <a:xfrm>
            <a:off x="1749690" y="4549560"/>
            <a:ext cx="1720005"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tx2"/>
                </a:solidFill>
              </a:rPr>
              <a:t>Refusion sous Vide</a:t>
            </a:r>
          </a:p>
          <a:p>
            <a:pPr algn="ctr">
              <a:spcBef>
                <a:spcPts val="400"/>
              </a:spcBef>
            </a:pPr>
            <a:r>
              <a:rPr lang="fr-FR" altLang="fr-FR" sz="1400" dirty="0">
                <a:solidFill>
                  <a:schemeClr val="tx2"/>
                </a:solidFill>
              </a:rPr>
              <a:t>(2 à 3 VAR)</a:t>
            </a:r>
          </a:p>
        </p:txBody>
      </p:sp>
      <p:sp>
        <p:nvSpPr>
          <p:cNvPr id="30" name="AutoShape 11">
            <a:extLst>
              <a:ext uri="{FF2B5EF4-FFF2-40B4-BE49-F238E27FC236}">
                <a16:creationId xmlns:a16="http://schemas.microsoft.com/office/drawing/2014/main" id="{AF67FEDE-EF84-49F0-A0C4-629B265B3842}"/>
              </a:ext>
            </a:extLst>
          </p:cNvPr>
          <p:cNvSpPr>
            <a:spLocks noChangeArrowheads="1"/>
          </p:cNvSpPr>
          <p:nvPr/>
        </p:nvSpPr>
        <p:spPr bwMode="auto">
          <a:xfrm rot="5400000">
            <a:off x="1670563" y="3170956"/>
            <a:ext cx="647700" cy="111601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p>
        </p:txBody>
      </p:sp>
      <p:sp>
        <p:nvSpPr>
          <p:cNvPr id="31" name="Text Box 12">
            <a:extLst>
              <a:ext uri="{FF2B5EF4-FFF2-40B4-BE49-F238E27FC236}">
                <a16:creationId xmlns:a16="http://schemas.microsoft.com/office/drawing/2014/main" id="{4518AD6E-1D8D-4AD8-84CB-6737B667DC5F}"/>
              </a:ext>
            </a:extLst>
          </p:cNvPr>
          <p:cNvSpPr txBox="1">
            <a:spLocks noChangeArrowheads="1"/>
          </p:cNvSpPr>
          <p:nvPr/>
        </p:nvSpPr>
        <p:spPr bwMode="auto">
          <a:xfrm>
            <a:off x="1436407" y="3441704"/>
            <a:ext cx="1116013"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ts val="400"/>
              </a:spcBef>
            </a:pPr>
            <a:r>
              <a:rPr lang="fr-FR" altLang="fr-FR" sz="1400" dirty="0">
                <a:solidFill>
                  <a:schemeClr val="tx2"/>
                </a:solidFill>
              </a:rPr>
              <a:t>Eponges</a:t>
            </a:r>
          </a:p>
          <a:p>
            <a:pPr algn="ctr">
              <a:spcBef>
                <a:spcPts val="400"/>
              </a:spcBef>
            </a:pPr>
            <a:r>
              <a:rPr lang="fr-FR" altLang="fr-FR" sz="1400" dirty="0">
                <a:solidFill>
                  <a:schemeClr val="tx2"/>
                </a:solidFill>
              </a:rPr>
              <a:t>&gt; 80 %</a:t>
            </a:r>
          </a:p>
        </p:txBody>
      </p:sp>
      <p:sp>
        <p:nvSpPr>
          <p:cNvPr id="28" name="AutoShape 60">
            <a:extLst>
              <a:ext uri="{FF2B5EF4-FFF2-40B4-BE49-F238E27FC236}">
                <a16:creationId xmlns:a16="http://schemas.microsoft.com/office/drawing/2014/main" id="{FD5CB140-E508-4790-B715-3145E9081A24}"/>
              </a:ext>
            </a:extLst>
          </p:cNvPr>
          <p:cNvSpPr>
            <a:spLocks noChangeArrowheads="1"/>
          </p:cNvSpPr>
          <p:nvPr/>
        </p:nvSpPr>
        <p:spPr bwMode="auto">
          <a:xfrm rot="5400000">
            <a:off x="1839855" y="1500714"/>
            <a:ext cx="287338" cy="130737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29" name="Text Box 61">
            <a:extLst>
              <a:ext uri="{FF2B5EF4-FFF2-40B4-BE49-F238E27FC236}">
                <a16:creationId xmlns:a16="http://schemas.microsoft.com/office/drawing/2014/main" id="{4F2CD7F7-ED26-4607-A3A3-C8B5FCCB24C5}"/>
              </a:ext>
            </a:extLst>
          </p:cNvPr>
          <p:cNvSpPr txBox="1">
            <a:spLocks noChangeArrowheads="1"/>
          </p:cNvSpPr>
          <p:nvPr/>
        </p:nvSpPr>
        <p:spPr bwMode="auto">
          <a:xfrm>
            <a:off x="1565249" y="2002000"/>
            <a:ext cx="836551"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altLang="fr-FR" sz="1400" dirty="0">
                <a:solidFill>
                  <a:schemeClr val="tx2"/>
                </a:solidFill>
              </a:rPr>
              <a:t>Minerai</a:t>
            </a:r>
          </a:p>
        </p:txBody>
      </p:sp>
      <p:sp>
        <p:nvSpPr>
          <p:cNvPr id="21" name="AutoShape 57">
            <a:extLst>
              <a:ext uri="{FF2B5EF4-FFF2-40B4-BE49-F238E27FC236}">
                <a16:creationId xmlns:a16="http://schemas.microsoft.com/office/drawing/2014/main" id="{1AF6232C-283C-47C6-8777-8F9BD8E36B93}"/>
              </a:ext>
            </a:extLst>
          </p:cNvPr>
          <p:cNvSpPr>
            <a:spLocks noChangeArrowheads="1"/>
          </p:cNvSpPr>
          <p:nvPr/>
        </p:nvSpPr>
        <p:spPr bwMode="auto">
          <a:xfrm rot="5400000">
            <a:off x="2962214" y="3170956"/>
            <a:ext cx="647700" cy="1116013"/>
          </a:xfrm>
          <a:prstGeom prst="roundRect">
            <a:avLst>
              <a:gd name="adj" fmla="val 16667"/>
            </a:avLst>
          </a:prstGeom>
          <a:solidFill>
            <a:srgbClr val="1B9D91"/>
          </a:solidFill>
          <a:ln w="9525">
            <a:solidFill>
              <a:schemeClr val="bg1"/>
            </a:solidFill>
            <a:round/>
            <a:headEnd/>
            <a:tailEnd/>
          </a:ln>
          <a:effectLst/>
        </p:spPr>
        <p:txBody>
          <a:bodyPr wrap="none" anchor="ctr"/>
          <a:lstStyle/>
          <a:p>
            <a:endParaRPr lang="fr-FR"/>
          </a:p>
        </p:txBody>
      </p:sp>
      <p:sp>
        <p:nvSpPr>
          <p:cNvPr id="23" name="Text Box 58">
            <a:extLst>
              <a:ext uri="{FF2B5EF4-FFF2-40B4-BE49-F238E27FC236}">
                <a16:creationId xmlns:a16="http://schemas.microsoft.com/office/drawing/2014/main" id="{931C5DE0-6DAE-4F70-B583-8F04D7F36C86}"/>
              </a:ext>
            </a:extLst>
          </p:cNvPr>
          <p:cNvSpPr txBox="1">
            <a:spLocks noChangeArrowheads="1"/>
          </p:cNvSpPr>
          <p:nvPr/>
        </p:nvSpPr>
        <p:spPr bwMode="auto">
          <a:xfrm>
            <a:off x="2853742" y="3441704"/>
            <a:ext cx="864645"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bg1"/>
                </a:solidFill>
              </a:rPr>
              <a:t>Recyclé</a:t>
            </a:r>
          </a:p>
          <a:p>
            <a:pPr algn="ctr">
              <a:spcBef>
                <a:spcPts val="400"/>
              </a:spcBef>
            </a:pPr>
            <a:r>
              <a:rPr lang="fr-FR" altLang="fr-FR" sz="1400" dirty="0">
                <a:solidFill>
                  <a:schemeClr val="bg1"/>
                </a:solidFill>
              </a:rPr>
              <a:t>&lt; 20 %</a:t>
            </a:r>
          </a:p>
        </p:txBody>
      </p:sp>
      <p:sp>
        <p:nvSpPr>
          <p:cNvPr id="80" name="AutoShape 81">
            <a:extLst>
              <a:ext uri="{FF2B5EF4-FFF2-40B4-BE49-F238E27FC236}">
                <a16:creationId xmlns:a16="http://schemas.microsoft.com/office/drawing/2014/main" id="{0B2C55BB-4E46-42E0-983E-E30B8E1A8163}"/>
              </a:ext>
            </a:extLst>
          </p:cNvPr>
          <p:cNvSpPr>
            <a:spLocks noChangeArrowheads="1"/>
          </p:cNvSpPr>
          <p:nvPr/>
        </p:nvSpPr>
        <p:spPr bwMode="auto">
          <a:xfrm rot="5400000">
            <a:off x="6421380" y="4688728"/>
            <a:ext cx="574675" cy="2376000"/>
          </a:xfrm>
          <a:prstGeom prst="roundRect">
            <a:avLst>
              <a:gd name="adj" fmla="val 16667"/>
            </a:avLst>
          </a:prstGeom>
          <a:solidFill>
            <a:srgbClr val="1B9D91"/>
          </a:solidFill>
          <a:ln w="9525">
            <a:noFill/>
            <a:round/>
            <a:headEnd/>
            <a:tailEnd/>
          </a:ln>
          <a:effectLst/>
        </p:spPr>
        <p:txBody>
          <a:bodyPr wrap="none" anchor="ctr"/>
          <a:lstStyle/>
          <a:p>
            <a:endParaRPr lang="fr-FR"/>
          </a:p>
        </p:txBody>
      </p:sp>
      <p:sp>
        <p:nvSpPr>
          <p:cNvPr id="81" name="Text Box 82">
            <a:extLst>
              <a:ext uri="{FF2B5EF4-FFF2-40B4-BE49-F238E27FC236}">
                <a16:creationId xmlns:a16="http://schemas.microsoft.com/office/drawing/2014/main" id="{F3501F27-2590-419D-94AD-33E87C9FA504}"/>
              </a:ext>
            </a:extLst>
          </p:cNvPr>
          <p:cNvSpPr txBox="1">
            <a:spLocks noChangeArrowheads="1"/>
          </p:cNvSpPr>
          <p:nvPr/>
        </p:nvSpPr>
        <p:spPr bwMode="auto">
          <a:xfrm>
            <a:off x="5625921" y="5602078"/>
            <a:ext cx="2097767"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bg1"/>
                </a:solidFill>
              </a:rPr>
              <a:t>1 à 2 VAR</a:t>
            </a:r>
          </a:p>
          <a:p>
            <a:pPr algn="ctr">
              <a:spcBef>
                <a:spcPts val="400"/>
              </a:spcBef>
            </a:pPr>
            <a:r>
              <a:rPr lang="fr-FR" altLang="fr-FR" sz="1400" dirty="0">
                <a:solidFill>
                  <a:schemeClr val="bg1"/>
                </a:solidFill>
              </a:rPr>
              <a:t>(Refusion sous Vide)</a:t>
            </a:r>
          </a:p>
        </p:txBody>
      </p:sp>
      <p:sp>
        <p:nvSpPr>
          <p:cNvPr id="78" name="AutoShape 101">
            <a:extLst>
              <a:ext uri="{FF2B5EF4-FFF2-40B4-BE49-F238E27FC236}">
                <a16:creationId xmlns:a16="http://schemas.microsoft.com/office/drawing/2014/main" id="{41C0536D-E53E-4AD0-9E61-F8BC19FD68C3}"/>
              </a:ext>
            </a:extLst>
          </p:cNvPr>
          <p:cNvSpPr>
            <a:spLocks noChangeArrowheads="1"/>
          </p:cNvSpPr>
          <p:nvPr/>
        </p:nvSpPr>
        <p:spPr bwMode="auto">
          <a:xfrm rot="5400000">
            <a:off x="6421382" y="3663659"/>
            <a:ext cx="574675" cy="2376000"/>
          </a:xfrm>
          <a:prstGeom prst="roundRect">
            <a:avLst>
              <a:gd name="adj" fmla="val 16667"/>
            </a:avLst>
          </a:prstGeom>
          <a:solidFill>
            <a:srgbClr val="1B9D91"/>
          </a:solidFill>
          <a:ln w="9525">
            <a:noFill/>
            <a:round/>
            <a:headEnd/>
            <a:tailEnd/>
          </a:ln>
          <a:effectLst/>
        </p:spPr>
        <p:txBody>
          <a:bodyPr wrap="none" anchor="ctr"/>
          <a:lstStyle/>
          <a:p>
            <a:endParaRPr lang="fr-FR"/>
          </a:p>
        </p:txBody>
      </p:sp>
      <p:sp>
        <p:nvSpPr>
          <p:cNvPr id="79" name="Text Box 102">
            <a:extLst>
              <a:ext uri="{FF2B5EF4-FFF2-40B4-BE49-F238E27FC236}">
                <a16:creationId xmlns:a16="http://schemas.microsoft.com/office/drawing/2014/main" id="{000105B8-2CB2-4621-A02F-BC18CCB9E414}"/>
              </a:ext>
            </a:extLst>
          </p:cNvPr>
          <p:cNvSpPr txBox="1">
            <a:spLocks noChangeArrowheads="1"/>
          </p:cNvSpPr>
          <p:nvPr/>
        </p:nvSpPr>
        <p:spPr bwMode="auto">
          <a:xfrm>
            <a:off x="5683084" y="4564401"/>
            <a:ext cx="1908175"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ts val="400"/>
              </a:spcBef>
            </a:pPr>
            <a:r>
              <a:rPr lang="fr-FR" altLang="fr-FR" sz="1400" dirty="0">
                <a:solidFill>
                  <a:schemeClr val="bg1"/>
                </a:solidFill>
              </a:rPr>
              <a:t>1</a:t>
            </a:r>
            <a:r>
              <a:rPr lang="fr-FR" altLang="fr-FR" sz="1400" baseline="30000" dirty="0">
                <a:solidFill>
                  <a:schemeClr val="bg1"/>
                </a:solidFill>
              </a:rPr>
              <a:t>ère</a:t>
            </a:r>
            <a:r>
              <a:rPr lang="fr-FR" altLang="fr-FR" sz="1400" dirty="0">
                <a:solidFill>
                  <a:schemeClr val="bg1"/>
                </a:solidFill>
              </a:rPr>
              <a:t> refusion</a:t>
            </a:r>
          </a:p>
          <a:p>
            <a:pPr algn="ctr">
              <a:spcBef>
                <a:spcPts val="400"/>
              </a:spcBef>
            </a:pPr>
            <a:r>
              <a:rPr lang="fr-FR" altLang="fr-FR" sz="1400" dirty="0">
                <a:solidFill>
                  <a:schemeClr val="bg1"/>
                </a:solidFill>
              </a:rPr>
              <a:t>= Four PAMCHR</a:t>
            </a:r>
          </a:p>
        </p:txBody>
      </p:sp>
      <p:pic>
        <p:nvPicPr>
          <p:cNvPr id="83" name="Image 82">
            <a:extLst>
              <a:ext uri="{FF2B5EF4-FFF2-40B4-BE49-F238E27FC236}">
                <a16:creationId xmlns:a16="http://schemas.microsoft.com/office/drawing/2014/main" id="{B564526A-45AE-4C74-894A-2877A427773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706139" y="965377"/>
            <a:ext cx="1744808" cy="705599"/>
          </a:xfrm>
          <a:prstGeom prst="rect">
            <a:avLst/>
          </a:prstGeom>
        </p:spPr>
      </p:pic>
      <p:grpSp>
        <p:nvGrpSpPr>
          <p:cNvPr id="97" name="Arrow32" descr="{&quot;Key&quot;:&quot;POWER_USER_SHAPE_ICON&quot;,&quot;Value&quot;:&quot;POWER_USER_SHAPE_ICON_STYLE_1&quot;}">
            <a:extLst>
              <a:ext uri="{FF2B5EF4-FFF2-40B4-BE49-F238E27FC236}">
                <a16:creationId xmlns:a16="http://schemas.microsoft.com/office/drawing/2014/main" id="{BDEB18E1-754D-4594-A3D0-5500134C53C3}"/>
              </a:ext>
            </a:extLst>
          </p:cNvPr>
          <p:cNvGrpSpPr>
            <a:grpSpLocks noChangeAspect="1"/>
          </p:cNvGrpSpPr>
          <p:nvPr/>
        </p:nvGrpSpPr>
        <p:grpSpPr>
          <a:xfrm rot="5400000">
            <a:off x="3182588" y="4202585"/>
            <a:ext cx="206952" cy="180000"/>
            <a:chOff x="1412032" y="2732632"/>
            <a:chExt cx="1016496" cy="884112"/>
          </a:xfrm>
          <a:solidFill>
            <a:srgbClr val="1BAE8F"/>
          </a:solidFill>
        </p:grpSpPr>
        <p:sp>
          <p:nvSpPr>
            <p:cNvPr id="98" name="Chevron 177">
              <a:extLst>
                <a:ext uri="{FF2B5EF4-FFF2-40B4-BE49-F238E27FC236}">
                  <a16:creationId xmlns:a16="http://schemas.microsoft.com/office/drawing/2014/main" id="{97593A4C-38BE-4EC1-B0F3-266B2A7D9E26}"/>
                </a:ext>
              </a:extLst>
            </p:cNvPr>
            <p:cNvSpPr/>
            <p:nvPr/>
          </p:nvSpPr>
          <p:spPr>
            <a:xfrm>
              <a:off x="1412032" y="2732632"/>
              <a:ext cx="576064" cy="884112"/>
            </a:xfrm>
            <a:prstGeom prst="chevron">
              <a:avLst>
                <a:gd name="adj" fmla="val 56184"/>
              </a:avLst>
            </a:prstGeom>
            <a:solidFill>
              <a:srgbClr val="1BAE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Chevron 178">
              <a:extLst>
                <a:ext uri="{FF2B5EF4-FFF2-40B4-BE49-F238E27FC236}">
                  <a16:creationId xmlns:a16="http://schemas.microsoft.com/office/drawing/2014/main" id="{E17E6246-85F5-40A5-9C23-67A612210616}"/>
                </a:ext>
              </a:extLst>
            </p:cNvPr>
            <p:cNvSpPr/>
            <p:nvPr/>
          </p:nvSpPr>
          <p:spPr>
            <a:xfrm>
              <a:off x="1852464" y="2732632"/>
              <a:ext cx="576064" cy="884112"/>
            </a:xfrm>
            <a:prstGeom prst="chevron">
              <a:avLst>
                <a:gd name="adj" fmla="val 56184"/>
              </a:avLst>
            </a:prstGeom>
            <a:solidFill>
              <a:srgbClr val="1BAE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6" name="Arrow32" descr="{&quot;Key&quot;:&quot;POWER_USER_SHAPE_ICON&quot;,&quot;Value&quot;:&quot;POWER_USER_SHAPE_ICON_STYLE_1&quot;}">
            <a:extLst>
              <a:ext uri="{FF2B5EF4-FFF2-40B4-BE49-F238E27FC236}">
                <a16:creationId xmlns:a16="http://schemas.microsoft.com/office/drawing/2014/main" id="{8D7814E3-18C0-441C-82EE-04AB5AAA0CC3}"/>
              </a:ext>
            </a:extLst>
          </p:cNvPr>
          <p:cNvGrpSpPr>
            <a:grpSpLocks noChangeAspect="1"/>
          </p:cNvGrpSpPr>
          <p:nvPr/>
        </p:nvGrpSpPr>
        <p:grpSpPr>
          <a:xfrm rot="5400000">
            <a:off x="6661329" y="5261458"/>
            <a:ext cx="206952" cy="180000"/>
            <a:chOff x="1412032" y="2732632"/>
            <a:chExt cx="1016496" cy="884112"/>
          </a:xfrm>
          <a:solidFill>
            <a:srgbClr val="1BAE8F"/>
          </a:solidFill>
        </p:grpSpPr>
        <p:sp>
          <p:nvSpPr>
            <p:cNvPr id="107" name="Chevron 177">
              <a:extLst>
                <a:ext uri="{FF2B5EF4-FFF2-40B4-BE49-F238E27FC236}">
                  <a16:creationId xmlns:a16="http://schemas.microsoft.com/office/drawing/2014/main" id="{A50B21B7-AB8B-48D4-B2D8-8029DF55BCEB}"/>
                </a:ext>
              </a:extLst>
            </p:cNvPr>
            <p:cNvSpPr/>
            <p:nvPr/>
          </p:nvSpPr>
          <p:spPr>
            <a:xfrm>
              <a:off x="1412032"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Chevron 178">
              <a:extLst>
                <a:ext uri="{FF2B5EF4-FFF2-40B4-BE49-F238E27FC236}">
                  <a16:creationId xmlns:a16="http://schemas.microsoft.com/office/drawing/2014/main" id="{F13C5750-AC19-4036-A209-554B4AFFAD8D}"/>
                </a:ext>
              </a:extLst>
            </p:cNvPr>
            <p:cNvSpPr/>
            <p:nvPr/>
          </p:nvSpPr>
          <p:spPr>
            <a:xfrm>
              <a:off x="1852464"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2" name="Arrow32" descr="{&quot;Key&quot;:&quot;POWER_USER_SHAPE_ICON&quot;,&quot;Value&quot;:&quot;POWER_USER_SHAPE_ICON_STYLE_1&quot;}">
            <a:extLst>
              <a:ext uri="{FF2B5EF4-FFF2-40B4-BE49-F238E27FC236}">
                <a16:creationId xmlns:a16="http://schemas.microsoft.com/office/drawing/2014/main" id="{D2FF5957-55CA-4575-8B16-6D31C9FEC31F}"/>
              </a:ext>
            </a:extLst>
          </p:cNvPr>
          <p:cNvGrpSpPr>
            <a:grpSpLocks noChangeAspect="1"/>
          </p:cNvGrpSpPr>
          <p:nvPr/>
        </p:nvGrpSpPr>
        <p:grpSpPr>
          <a:xfrm rot="5400000">
            <a:off x="1880048" y="2401648"/>
            <a:ext cx="206952" cy="180000"/>
            <a:chOff x="1412032" y="2732632"/>
            <a:chExt cx="1016496" cy="884112"/>
          </a:xfrm>
          <a:solidFill>
            <a:srgbClr val="1BAE8F"/>
          </a:solidFill>
        </p:grpSpPr>
        <p:sp>
          <p:nvSpPr>
            <p:cNvPr id="113" name="Chevron 177">
              <a:extLst>
                <a:ext uri="{FF2B5EF4-FFF2-40B4-BE49-F238E27FC236}">
                  <a16:creationId xmlns:a16="http://schemas.microsoft.com/office/drawing/2014/main" id="{16CCDE81-0ECF-45A5-8343-6ED5EB42C624}"/>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Chevron 178">
              <a:extLst>
                <a:ext uri="{FF2B5EF4-FFF2-40B4-BE49-F238E27FC236}">
                  <a16:creationId xmlns:a16="http://schemas.microsoft.com/office/drawing/2014/main" id="{32F7DAC8-EFA7-4718-A099-C5E6F2E51362}"/>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5" name="Arrow32" descr="{&quot;Key&quot;:&quot;POWER_USER_SHAPE_ICON&quot;,&quot;Value&quot;:&quot;POWER_USER_SHAPE_ICON_STYLE_1&quot;}">
            <a:extLst>
              <a:ext uri="{FF2B5EF4-FFF2-40B4-BE49-F238E27FC236}">
                <a16:creationId xmlns:a16="http://schemas.microsoft.com/office/drawing/2014/main" id="{319FB953-A926-449E-B5DE-9BFD443C69FA}"/>
              </a:ext>
            </a:extLst>
          </p:cNvPr>
          <p:cNvGrpSpPr>
            <a:grpSpLocks noChangeAspect="1"/>
          </p:cNvGrpSpPr>
          <p:nvPr/>
        </p:nvGrpSpPr>
        <p:grpSpPr>
          <a:xfrm rot="5400000">
            <a:off x="1890937" y="4202584"/>
            <a:ext cx="206952" cy="180000"/>
            <a:chOff x="1412032" y="2732632"/>
            <a:chExt cx="1016496" cy="884112"/>
          </a:xfrm>
          <a:solidFill>
            <a:srgbClr val="1BAE8F"/>
          </a:solidFill>
        </p:grpSpPr>
        <p:sp>
          <p:nvSpPr>
            <p:cNvPr id="116" name="Chevron 177">
              <a:extLst>
                <a:ext uri="{FF2B5EF4-FFF2-40B4-BE49-F238E27FC236}">
                  <a16:creationId xmlns:a16="http://schemas.microsoft.com/office/drawing/2014/main" id="{C47C9857-A6CE-4544-A11B-661945488BBE}"/>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Chevron 178">
              <a:extLst>
                <a:ext uri="{FF2B5EF4-FFF2-40B4-BE49-F238E27FC236}">
                  <a16:creationId xmlns:a16="http://schemas.microsoft.com/office/drawing/2014/main" id="{DA144D82-8DED-41BE-B34E-36417484A79F}"/>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6" name="AutoShape 11">
            <a:extLst>
              <a:ext uri="{FF2B5EF4-FFF2-40B4-BE49-F238E27FC236}">
                <a16:creationId xmlns:a16="http://schemas.microsoft.com/office/drawing/2014/main" id="{6FD942DB-BC94-4EC1-AA4D-E89159E294CD}"/>
              </a:ext>
            </a:extLst>
          </p:cNvPr>
          <p:cNvSpPr>
            <a:spLocks noChangeArrowheads="1"/>
          </p:cNvSpPr>
          <p:nvPr/>
        </p:nvSpPr>
        <p:spPr bwMode="auto">
          <a:xfrm rot="5400000">
            <a:off x="5707311" y="3185797"/>
            <a:ext cx="647700" cy="1116013"/>
          </a:xfrm>
          <a:prstGeom prst="roundRect">
            <a:avLst>
              <a:gd name="adj" fmla="val 16667"/>
            </a:avLst>
          </a:prstGeom>
          <a:solidFill>
            <a:srgbClr val="1B9D91"/>
          </a:solidFill>
          <a:ln w="9525">
            <a:solidFill>
              <a:schemeClr val="bg1"/>
            </a:solidFill>
            <a:round/>
            <a:headEnd/>
            <a:tailEnd/>
          </a:ln>
          <a:effectLst/>
        </p:spPr>
        <p:txBody>
          <a:bodyPr wrap="none" anchor="ctr"/>
          <a:lstStyle/>
          <a:p>
            <a:endParaRPr lang="fr-FR"/>
          </a:p>
        </p:txBody>
      </p:sp>
      <p:sp>
        <p:nvSpPr>
          <p:cNvPr id="127" name="Text Box 12">
            <a:extLst>
              <a:ext uri="{FF2B5EF4-FFF2-40B4-BE49-F238E27FC236}">
                <a16:creationId xmlns:a16="http://schemas.microsoft.com/office/drawing/2014/main" id="{953DD88A-9493-4988-BC46-E1419B62CCCF}"/>
              </a:ext>
            </a:extLst>
          </p:cNvPr>
          <p:cNvSpPr txBox="1">
            <a:spLocks noChangeArrowheads="1"/>
          </p:cNvSpPr>
          <p:nvPr/>
        </p:nvSpPr>
        <p:spPr bwMode="auto">
          <a:xfrm>
            <a:off x="5473155" y="3456545"/>
            <a:ext cx="1116013"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ts val="400"/>
              </a:spcBef>
            </a:pPr>
            <a:r>
              <a:rPr lang="fr-FR" altLang="fr-FR" sz="1400" dirty="0">
                <a:solidFill>
                  <a:schemeClr val="bg1"/>
                </a:solidFill>
              </a:rPr>
              <a:t>Recyclés</a:t>
            </a:r>
          </a:p>
          <a:p>
            <a:pPr algn="ctr">
              <a:spcBef>
                <a:spcPts val="400"/>
              </a:spcBef>
            </a:pPr>
            <a:r>
              <a:rPr lang="fr-FR" altLang="fr-FR" sz="1400" dirty="0">
                <a:solidFill>
                  <a:schemeClr val="bg1"/>
                </a:solidFill>
              </a:rPr>
              <a:t>&gt; 80 %</a:t>
            </a:r>
          </a:p>
        </p:txBody>
      </p:sp>
      <p:sp>
        <p:nvSpPr>
          <p:cNvPr id="130" name="AutoShape 57">
            <a:extLst>
              <a:ext uri="{FF2B5EF4-FFF2-40B4-BE49-F238E27FC236}">
                <a16:creationId xmlns:a16="http://schemas.microsoft.com/office/drawing/2014/main" id="{53DE7F82-95FA-4EF5-9E10-CF3D02F1BEB6}"/>
              </a:ext>
            </a:extLst>
          </p:cNvPr>
          <p:cNvSpPr>
            <a:spLocks noChangeArrowheads="1"/>
          </p:cNvSpPr>
          <p:nvPr/>
        </p:nvSpPr>
        <p:spPr bwMode="auto">
          <a:xfrm rot="5400000">
            <a:off x="6998962" y="3185797"/>
            <a:ext cx="647700" cy="1116013"/>
          </a:xfrm>
          <a:prstGeom prst="roundRect">
            <a:avLst>
              <a:gd name="adj" fmla="val 16667"/>
            </a:avLst>
          </a:prstGeom>
          <a:noFill/>
          <a:ln w="9525">
            <a:solidFill>
              <a:schemeClr val="accent5">
                <a:lumMod val="50000"/>
              </a:schemeClr>
            </a:solidFill>
            <a:round/>
            <a:headEnd/>
            <a:tailEnd/>
          </a:ln>
          <a:effectLst/>
        </p:spPr>
        <p:txBody>
          <a:bodyPr wrap="none" anchor="ctr"/>
          <a:lstStyle/>
          <a:p>
            <a:endParaRPr lang="fr-FR"/>
          </a:p>
        </p:txBody>
      </p:sp>
      <p:sp>
        <p:nvSpPr>
          <p:cNvPr id="131" name="Text Box 58">
            <a:extLst>
              <a:ext uri="{FF2B5EF4-FFF2-40B4-BE49-F238E27FC236}">
                <a16:creationId xmlns:a16="http://schemas.microsoft.com/office/drawing/2014/main" id="{A29BAD53-1041-431E-A26A-31870D02C249}"/>
              </a:ext>
            </a:extLst>
          </p:cNvPr>
          <p:cNvSpPr txBox="1">
            <a:spLocks noChangeArrowheads="1"/>
          </p:cNvSpPr>
          <p:nvPr/>
        </p:nvSpPr>
        <p:spPr bwMode="auto">
          <a:xfrm>
            <a:off x="6890490" y="3456545"/>
            <a:ext cx="905643"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tx2"/>
                </a:solidFill>
              </a:rPr>
              <a:t>Eponges</a:t>
            </a:r>
          </a:p>
          <a:p>
            <a:pPr algn="ctr">
              <a:spcBef>
                <a:spcPts val="400"/>
              </a:spcBef>
            </a:pPr>
            <a:r>
              <a:rPr lang="fr-FR" altLang="fr-FR" sz="1400" dirty="0">
                <a:solidFill>
                  <a:schemeClr val="tx2"/>
                </a:solidFill>
              </a:rPr>
              <a:t>&lt; 20 %</a:t>
            </a:r>
          </a:p>
        </p:txBody>
      </p:sp>
      <p:grpSp>
        <p:nvGrpSpPr>
          <p:cNvPr id="132" name="Arrow32" descr="{&quot;Key&quot;:&quot;POWER_USER_SHAPE_ICON&quot;,&quot;Value&quot;:&quot;POWER_USER_SHAPE_ICON_STYLE_1&quot;}">
            <a:extLst>
              <a:ext uri="{FF2B5EF4-FFF2-40B4-BE49-F238E27FC236}">
                <a16:creationId xmlns:a16="http://schemas.microsoft.com/office/drawing/2014/main" id="{970FE2FC-EDB2-4DE6-8CE9-FDECFD9F35FD}"/>
              </a:ext>
            </a:extLst>
          </p:cNvPr>
          <p:cNvGrpSpPr>
            <a:grpSpLocks noChangeAspect="1"/>
          </p:cNvGrpSpPr>
          <p:nvPr/>
        </p:nvGrpSpPr>
        <p:grpSpPr>
          <a:xfrm rot="5400000">
            <a:off x="7219336" y="4217425"/>
            <a:ext cx="206952" cy="180000"/>
            <a:chOff x="1412032" y="2732632"/>
            <a:chExt cx="1016496" cy="884112"/>
          </a:xfrm>
          <a:solidFill>
            <a:schemeClr val="accent5">
              <a:lumMod val="50000"/>
            </a:schemeClr>
          </a:solidFill>
        </p:grpSpPr>
        <p:sp>
          <p:nvSpPr>
            <p:cNvPr id="133" name="Chevron 177">
              <a:extLst>
                <a:ext uri="{FF2B5EF4-FFF2-40B4-BE49-F238E27FC236}">
                  <a16:creationId xmlns:a16="http://schemas.microsoft.com/office/drawing/2014/main" id="{189A44FD-6666-4A1C-ABDA-A705760D8A86}"/>
                </a:ext>
              </a:extLst>
            </p:cNvPr>
            <p:cNvSpPr/>
            <p:nvPr/>
          </p:nvSpPr>
          <p:spPr>
            <a:xfrm>
              <a:off x="1412032"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Chevron 178">
              <a:extLst>
                <a:ext uri="{FF2B5EF4-FFF2-40B4-BE49-F238E27FC236}">
                  <a16:creationId xmlns:a16="http://schemas.microsoft.com/office/drawing/2014/main" id="{3E96CCA9-FDA0-4384-8471-04FF428D5986}"/>
                </a:ext>
              </a:extLst>
            </p:cNvPr>
            <p:cNvSpPr/>
            <p:nvPr/>
          </p:nvSpPr>
          <p:spPr>
            <a:xfrm>
              <a:off x="1852464"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8" name="Arrow32" descr="{&quot;Key&quot;:&quot;POWER_USER_SHAPE_ICON&quot;,&quot;Value&quot;:&quot;POWER_USER_SHAPE_ICON_STYLE_1&quot;}">
            <a:extLst>
              <a:ext uri="{FF2B5EF4-FFF2-40B4-BE49-F238E27FC236}">
                <a16:creationId xmlns:a16="http://schemas.microsoft.com/office/drawing/2014/main" id="{66B88C85-EDF1-4320-981F-8D1EC2EBBB34}"/>
              </a:ext>
            </a:extLst>
          </p:cNvPr>
          <p:cNvGrpSpPr>
            <a:grpSpLocks noChangeAspect="1"/>
          </p:cNvGrpSpPr>
          <p:nvPr/>
        </p:nvGrpSpPr>
        <p:grpSpPr>
          <a:xfrm rot="5400000">
            <a:off x="5927685" y="4217425"/>
            <a:ext cx="206952" cy="180000"/>
            <a:chOff x="1412032" y="2732632"/>
            <a:chExt cx="1016496" cy="884112"/>
          </a:xfrm>
          <a:solidFill>
            <a:srgbClr val="1BAE8F"/>
          </a:solidFill>
        </p:grpSpPr>
        <p:sp>
          <p:nvSpPr>
            <p:cNvPr id="139" name="Chevron 177">
              <a:extLst>
                <a:ext uri="{FF2B5EF4-FFF2-40B4-BE49-F238E27FC236}">
                  <a16:creationId xmlns:a16="http://schemas.microsoft.com/office/drawing/2014/main" id="{B1CEE678-EA81-4200-A8F2-32FADB10D8EA}"/>
                </a:ext>
              </a:extLst>
            </p:cNvPr>
            <p:cNvSpPr/>
            <p:nvPr/>
          </p:nvSpPr>
          <p:spPr>
            <a:xfrm>
              <a:off x="1412032"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Chevron 178">
              <a:extLst>
                <a:ext uri="{FF2B5EF4-FFF2-40B4-BE49-F238E27FC236}">
                  <a16:creationId xmlns:a16="http://schemas.microsoft.com/office/drawing/2014/main" id="{A099AAFB-6DA2-462B-AB0B-8894120F5B7E}"/>
                </a:ext>
              </a:extLst>
            </p:cNvPr>
            <p:cNvSpPr/>
            <p:nvPr/>
          </p:nvSpPr>
          <p:spPr>
            <a:xfrm>
              <a:off x="1852464"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2" name="AutoShape 60">
            <a:extLst>
              <a:ext uri="{FF2B5EF4-FFF2-40B4-BE49-F238E27FC236}">
                <a16:creationId xmlns:a16="http://schemas.microsoft.com/office/drawing/2014/main" id="{18945B62-E263-435B-BFFA-2A6C85A87957}"/>
              </a:ext>
            </a:extLst>
          </p:cNvPr>
          <p:cNvSpPr>
            <a:spLocks noChangeArrowheads="1"/>
          </p:cNvSpPr>
          <p:nvPr/>
        </p:nvSpPr>
        <p:spPr bwMode="auto">
          <a:xfrm rot="5400000">
            <a:off x="1839855" y="2173622"/>
            <a:ext cx="287338" cy="1307375"/>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143" name="Text Box 61">
            <a:extLst>
              <a:ext uri="{FF2B5EF4-FFF2-40B4-BE49-F238E27FC236}">
                <a16:creationId xmlns:a16="http://schemas.microsoft.com/office/drawing/2014/main" id="{2C00DB42-AEE9-42DB-995D-060A2A6F9E33}"/>
              </a:ext>
            </a:extLst>
          </p:cNvPr>
          <p:cNvSpPr txBox="1">
            <a:spLocks noChangeArrowheads="1"/>
          </p:cNvSpPr>
          <p:nvPr/>
        </p:nvSpPr>
        <p:spPr bwMode="auto">
          <a:xfrm>
            <a:off x="1357355" y="2673421"/>
            <a:ext cx="125233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fr-FR" altLang="fr-FR" sz="1400" dirty="0">
                <a:solidFill>
                  <a:schemeClr val="tx2"/>
                </a:solidFill>
              </a:rPr>
              <a:t>Procédé Kroll</a:t>
            </a:r>
          </a:p>
        </p:txBody>
      </p:sp>
      <p:grpSp>
        <p:nvGrpSpPr>
          <p:cNvPr id="144" name="Arrow32" descr="{&quot;Key&quot;:&quot;POWER_USER_SHAPE_ICON&quot;,&quot;Value&quot;:&quot;POWER_USER_SHAPE_ICON_STYLE_1&quot;}">
            <a:extLst>
              <a:ext uri="{FF2B5EF4-FFF2-40B4-BE49-F238E27FC236}">
                <a16:creationId xmlns:a16="http://schemas.microsoft.com/office/drawing/2014/main" id="{9048A792-0CE1-4204-B90B-2F0903C84C6E}"/>
              </a:ext>
            </a:extLst>
          </p:cNvPr>
          <p:cNvGrpSpPr>
            <a:grpSpLocks noChangeAspect="1"/>
          </p:cNvGrpSpPr>
          <p:nvPr/>
        </p:nvGrpSpPr>
        <p:grpSpPr>
          <a:xfrm rot="5400000">
            <a:off x="1880048" y="3124303"/>
            <a:ext cx="206952" cy="180000"/>
            <a:chOff x="1412032" y="2732632"/>
            <a:chExt cx="1016496" cy="884112"/>
          </a:xfrm>
          <a:solidFill>
            <a:srgbClr val="1BAE8F"/>
          </a:solidFill>
        </p:grpSpPr>
        <p:sp>
          <p:nvSpPr>
            <p:cNvPr id="145" name="Chevron 177">
              <a:extLst>
                <a:ext uri="{FF2B5EF4-FFF2-40B4-BE49-F238E27FC236}">
                  <a16:creationId xmlns:a16="http://schemas.microsoft.com/office/drawing/2014/main" id="{2EB352F2-5F06-4782-B63F-9FCE1F08DBD5}"/>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Chevron 178">
              <a:extLst>
                <a:ext uri="{FF2B5EF4-FFF2-40B4-BE49-F238E27FC236}">
                  <a16:creationId xmlns:a16="http://schemas.microsoft.com/office/drawing/2014/main" id="{3D1A3445-0A78-4742-A064-2FF6972C1F5D}"/>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7" name="AutoShape 60">
            <a:extLst>
              <a:ext uri="{FF2B5EF4-FFF2-40B4-BE49-F238E27FC236}">
                <a16:creationId xmlns:a16="http://schemas.microsoft.com/office/drawing/2014/main" id="{783B3FE7-A9E3-4BEB-98C4-E17C9A2F3779}"/>
              </a:ext>
            </a:extLst>
          </p:cNvPr>
          <p:cNvSpPr>
            <a:spLocks noChangeArrowheads="1"/>
          </p:cNvSpPr>
          <p:nvPr/>
        </p:nvSpPr>
        <p:spPr bwMode="auto">
          <a:xfrm rot="5400000">
            <a:off x="7186239" y="1515555"/>
            <a:ext cx="287338" cy="130737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148" name="Text Box 61">
            <a:extLst>
              <a:ext uri="{FF2B5EF4-FFF2-40B4-BE49-F238E27FC236}">
                <a16:creationId xmlns:a16="http://schemas.microsoft.com/office/drawing/2014/main" id="{1C628F66-047C-4589-AC58-955098EAFD32}"/>
              </a:ext>
            </a:extLst>
          </p:cNvPr>
          <p:cNvSpPr txBox="1">
            <a:spLocks noChangeArrowheads="1"/>
          </p:cNvSpPr>
          <p:nvPr/>
        </p:nvSpPr>
        <p:spPr bwMode="auto">
          <a:xfrm>
            <a:off x="6911633" y="2016841"/>
            <a:ext cx="836551"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altLang="fr-FR" sz="1400" dirty="0">
                <a:solidFill>
                  <a:schemeClr val="tx2"/>
                </a:solidFill>
              </a:rPr>
              <a:t>Minerai</a:t>
            </a:r>
          </a:p>
        </p:txBody>
      </p:sp>
      <p:grpSp>
        <p:nvGrpSpPr>
          <p:cNvPr id="149" name="Arrow32" descr="{&quot;Key&quot;:&quot;POWER_USER_SHAPE_ICON&quot;,&quot;Value&quot;:&quot;POWER_USER_SHAPE_ICON_STYLE_1&quot;}">
            <a:extLst>
              <a:ext uri="{FF2B5EF4-FFF2-40B4-BE49-F238E27FC236}">
                <a16:creationId xmlns:a16="http://schemas.microsoft.com/office/drawing/2014/main" id="{535E9C34-2DFA-4596-8A02-267FDB458CBF}"/>
              </a:ext>
            </a:extLst>
          </p:cNvPr>
          <p:cNvGrpSpPr>
            <a:grpSpLocks noChangeAspect="1"/>
          </p:cNvGrpSpPr>
          <p:nvPr/>
        </p:nvGrpSpPr>
        <p:grpSpPr>
          <a:xfrm rot="5400000">
            <a:off x="7226432" y="2416489"/>
            <a:ext cx="206952" cy="180000"/>
            <a:chOff x="1412032" y="2732632"/>
            <a:chExt cx="1016496" cy="884112"/>
          </a:xfrm>
          <a:solidFill>
            <a:srgbClr val="1BAE8F"/>
          </a:solidFill>
        </p:grpSpPr>
        <p:sp>
          <p:nvSpPr>
            <p:cNvPr id="150" name="Chevron 177">
              <a:extLst>
                <a:ext uri="{FF2B5EF4-FFF2-40B4-BE49-F238E27FC236}">
                  <a16:creationId xmlns:a16="http://schemas.microsoft.com/office/drawing/2014/main" id="{015C46EE-6296-45BB-B58C-085140C47FF5}"/>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Chevron 178">
              <a:extLst>
                <a:ext uri="{FF2B5EF4-FFF2-40B4-BE49-F238E27FC236}">
                  <a16:creationId xmlns:a16="http://schemas.microsoft.com/office/drawing/2014/main" id="{23DD52B1-8359-4015-84C7-855E5367A644}"/>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2" name="AutoShape 60">
            <a:extLst>
              <a:ext uri="{FF2B5EF4-FFF2-40B4-BE49-F238E27FC236}">
                <a16:creationId xmlns:a16="http://schemas.microsoft.com/office/drawing/2014/main" id="{8F263C56-00F3-427C-AF72-59AA3C9AA821}"/>
              </a:ext>
            </a:extLst>
          </p:cNvPr>
          <p:cNvSpPr>
            <a:spLocks noChangeArrowheads="1"/>
          </p:cNvSpPr>
          <p:nvPr/>
        </p:nvSpPr>
        <p:spPr bwMode="auto">
          <a:xfrm rot="5400000">
            <a:off x="7186239" y="2188463"/>
            <a:ext cx="287338" cy="1307375"/>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153" name="Text Box 61">
            <a:extLst>
              <a:ext uri="{FF2B5EF4-FFF2-40B4-BE49-F238E27FC236}">
                <a16:creationId xmlns:a16="http://schemas.microsoft.com/office/drawing/2014/main" id="{7042E9C7-97E9-4C88-BB5C-C896A543A126}"/>
              </a:ext>
            </a:extLst>
          </p:cNvPr>
          <p:cNvSpPr txBox="1">
            <a:spLocks noChangeArrowheads="1"/>
          </p:cNvSpPr>
          <p:nvPr/>
        </p:nvSpPr>
        <p:spPr bwMode="auto">
          <a:xfrm>
            <a:off x="6703739" y="2688262"/>
            <a:ext cx="125233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fr-FR" altLang="fr-FR" sz="1400" dirty="0">
                <a:solidFill>
                  <a:schemeClr val="tx2"/>
                </a:solidFill>
              </a:rPr>
              <a:t>Procédé Kroll</a:t>
            </a:r>
          </a:p>
        </p:txBody>
      </p:sp>
      <p:grpSp>
        <p:nvGrpSpPr>
          <p:cNvPr id="154" name="Arrow32" descr="{&quot;Key&quot;:&quot;POWER_USER_SHAPE_ICON&quot;,&quot;Value&quot;:&quot;POWER_USER_SHAPE_ICON_STYLE_1&quot;}">
            <a:extLst>
              <a:ext uri="{FF2B5EF4-FFF2-40B4-BE49-F238E27FC236}">
                <a16:creationId xmlns:a16="http://schemas.microsoft.com/office/drawing/2014/main" id="{2ADB5A11-E2F7-480A-B374-D4E6F8DF1E9B}"/>
              </a:ext>
            </a:extLst>
          </p:cNvPr>
          <p:cNvGrpSpPr>
            <a:grpSpLocks noChangeAspect="1"/>
          </p:cNvGrpSpPr>
          <p:nvPr/>
        </p:nvGrpSpPr>
        <p:grpSpPr>
          <a:xfrm rot="5400000">
            <a:off x="7226432" y="3139144"/>
            <a:ext cx="206952" cy="180000"/>
            <a:chOff x="1412032" y="2732632"/>
            <a:chExt cx="1016496" cy="884112"/>
          </a:xfrm>
          <a:solidFill>
            <a:srgbClr val="1BAE8F"/>
          </a:solidFill>
        </p:grpSpPr>
        <p:sp>
          <p:nvSpPr>
            <p:cNvPr id="155" name="Chevron 177">
              <a:extLst>
                <a:ext uri="{FF2B5EF4-FFF2-40B4-BE49-F238E27FC236}">
                  <a16:creationId xmlns:a16="http://schemas.microsoft.com/office/drawing/2014/main" id="{D505E1B9-8501-48EE-AF99-4E1780DDE4F9}"/>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Chevron 178">
              <a:extLst>
                <a:ext uri="{FF2B5EF4-FFF2-40B4-BE49-F238E27FC236}">
                  <a16:creationId xmlns:a16="http://schemas.microsoft.com/office/drawing/2014/main" id="{20B7286B-E9FC-4278-ADDD-F3C7EA446608}"/>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5" name="Rectangle 164">
            <a:extLst>
              <a:ext uri="{FF2B5EF4-FFF2-40B4-BE49-F238E27FC236}">
                <a16:creationId xmlns:a16="http://schemas.microsoft.com/office/drawing/2014/main" id="{A5FB8301-C41B-42B2-B024-9622DA2073B5}"/>
              </a:ext>
            </a:extLst>
          </p:cNvPr>
          <p:cNvSpPr/>
          <p:nvPr/>
        </p:nvSpPr>
        <p:spPr>
          <a:xfrm rot="19794208">
            <a:off x="4762500" y="1777922"/>
            <a:ext cx="1573120" cy="51217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9,5teqCO2/t</a:t>
            </a:r>
          </a:p>
        </p:txBody>
      </p:sp>
      <p:sp>
        <p:nvSpPr>
          <p:cNvPr id="166" name="Rectangle 165">
            <a:extLst>
              <a:ext uri="{FF2B5EF4-FFF2-40B4-BE49-F238E27FC236}">
                <a16:creationId xmlns:a16="http://schemas.microsoft.com/office/drawing/2014/main" id="{C99BE1D7-06F9-4552-9603-77B0365C2E23}"/>
              </a:ext>
            </a:extLst>
          </p:cNvPr>
          <p:cNvSpPr/>
          <p:nvPr/>
        </p:nvSpPr>
        <p:spPr>
          <a:xfrm rot="19794208">
            <a:off x="30660" y="1737931"/>
            <a:ext cx="1573120" cy="512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4teqCO2/t</a:t>
            </a:r>
          </a:p>
        </p:txBody>
      </p:sp>
    </p:spTree>
    <p:extLst>
      <p:ext uri="{BB962C8B-B14F-4D97-AF65-F5344CB8AC3E}">
        <p14:creationId xmlns:p14="http://schemas.microsoft.com/office/powerpoint/2010/main" val="3600488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4F711BB-87DF-484C-BB7C-7D24C0F6A796}"/>
              </a:ext>
            </a:extLst>
          </p:cNvPr>
          <p:cNvSpPr>
            <a:spLocks noGrp="1"/>
          </p:cNvSpPr>
          <p:nvPr>
            <p:ph type="title"/>
          </p:nvPr>
        </p:nvSpPr>
        <p:spPr/>
        <p:txBody>
          <a:bodyPr/>
          <a:lstStyle/>
          <a:p>
            <a:endParaRPr lang="fr-FR"/>
          </a:p>
        </p:txBody>
      </p:sp>
      <p:sp>
        <p:nvSpPr>
          <p:cNvPr id="3" name="Espace réservé du contenu 2">
            <a:extLst>
              <a:ext uri="{FF2B5EF4-FFF2-40B4-BE49-F238E27FC236}">
                <a16:creationId xmlns:a16="http://schemas.microsoft.com/office/drawing/2014/main" id="{1EC96995-2997-45E5-93F0-AFFE70929628}"/>
              </a:ext>
            </a:extLst>
          </p:cNvPr>
          <p:cNvSpPr>
            <a:spLocks noGrp="1"/>
          </p:cNvSpPr>
          <p:nvPr>
            <p:ph idx="1"/>
          </p:nvPr>
        </p:nvSpPr>
        <p:spPr/>
        <p:txBody>
          <a:bodyPr/>
          <a:lstStyle/>
          <a:p>
            <a:r>
              <a:rPr lang="fr-FR" dirty="0"/>
              <a:t>Scope 3</a:t>
            </a:r>
          </a:p>
        </p:txBody>
      </p:sp>
      <p:sp>
        <p:nvSpPr>
          <p:cNvPr id="4" name="Espace réservé du texte 3">
            <a:extLst>
              <a:ext uri="{FF2B5EF4-FFF2-40B4-BE49-F238E27FC236}">
                <a16:creationId xmlns:a16="http://schemas.microsoft.com/office/drawing/2014/main" id="{AF815BCE-6B16-4881-87B6-ED3F36BB7221}"/>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34E3DCD1-3428-4F40-A062-B673F8600E05}"/>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896DD136-85D5-448D-99FB-C0CDA59561F4}"/>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2D5108A4-B933-4E22-AA7F-398F2DAE60B4}"/>
              </a:ext>
            </a:extLst>
          </p:cNvPr>
          <p:cNvSpPr>
            <a:spLocks noGrp="1"/>
          </p:cNvSpPr>
          <p:nvPr>
            <p:ph type="sldNum" sz="quarter" idx="16"/>
          </p:nvPr>
        </p:nvSpPr>
        <p:spPr/>
        <p:txBody>
          <a:bodyPr/>
          <a:lstStyle/>
          <a:p>
            <a:fld id="{733122C9-A0B9-462F-8757-0847AD287B63}" type="slidenum">
              <a:rPr lang="fr-FR" smtClean="0"/>
              <a:pPr/>
              <a:t>19</a:t>
            </a:fld>
            <a:endParaRPr lang="fr-FR" dirty="0"/>
          </a:p>
        </p:txBody>
      </p:sp>
    </p:spTree>
    <p:extLst>
      <p:ext uri="{BB962C8B-B14F-4D97-AF65-F5344CB8AC3E}">
        <p14:creationId xmlns:p14="http://schemas.microsoft.com/office/powerpoint/2010/main" val="41674366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8D56A791-58E9-4E92-B16E-DFED5CC8DBFB}"/>
              </a:ext>
            </a:extLst>
          </p:cNvPr>
          <p:cNvGraphicFramePr>
            <a:graphicFrameLocks noChangeAspect="1"/>
          </p:cNvGraphicFramePr>
          <p:nvPr>
            <p:custDataLst>
              <p:tags r:id="rId2"/>
            </p:custDataLst>
            <p:extLst>
              <p:ext uri="{D42A27DB-BD31-4B8C-83A1-F6EECF244321}">
                <p14:modId xmlns:p14="http://schemas.microsoft.com/office/powerpoint/2010/main" val="2470410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Diapositive think-cell" r:id="rId4" imgW="395" imgH="394" progId="TCLayout.ActiveDocument.1">
                  <p:embed/>
                </p:oleObj>
              </mc:Choice>
              <mc:Fallback>
                <p:oleObj name="Diapositive think-cell" r:id="rId4" imgW="395" imgH="394" progId="TCLayout.ActiveDocument.1">
                  <p:embed/>
                  <p:pic>
                    <p:nvPicPr>
                      <p:cNvPr id="8" name="Objet 7" hidden="1">
                        <a:extLst>
                          <a:ext uri="{FF2B5EF4-FFF2-40B4-BE49-F238E27FC236}">
                            <a16:creationId xmlns:a16="http://schemas.microsoft.com/office/drawing/2014/main" id="{8D56A791-58E9-4E92-B16E-DFED5CC8D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6" name="Image 25">
            <a:extLst>
              <a:ext uri="{FF2B5EF4-FFF2-40B4-BE49-F238E27FC236}">
                <a16:creationId xmlns:a16="http://schemas.microsoft.com/office/drawing/2014/main" id="{E92BC3E7-A60B-4A68-AC80-FE96C8B613EF}"/>
              </a:ext>
            </a:extLst>
          </p:cNvPr>
          <p:cNvPicPr>
            <a:picLocks noChangeAspect="1"/>
          </p:cNvPicPr>
          <p:nvPr/>
        </p:nvPicPr>
        <p:blipFill>
          <a:blip r:embed="rId6">
            <a:alphaModFix amt="20000"/>
          </a:blip>
          <a:stretch>
            <a:fillRect/>
          </a:stretch>
        </p:blipFill>
        <p:spPr>
          <a:xfrm>
            <a:off x="114155" y="1057070"/>
            <a:ext cx="5656917" cy="5646382"/>
          </a:xfrm>
          <a:prstGeom prst="rect">
            <a:avLst/>
          </a:prstGeom>
        </p:spPr>
      </p:pic>
      <p:sp>
        <p:nvSpPr>
          <p:cNvPr id="2" name="Titre 1">
            <a:extLst>
              <a:ext uri="{FF2B5EF4-FFF2-40B4-BE49-F238E27FC236}">
                <a16:creationId xmlns:a16="http://schemas.microsoft.com/office/drawing/2014/main" id="{939A07D1-8434-4DDC-B546-A55A054AD3E2}"/>
              </a:ext>
            </a:extLst>
          </p:cNvPr>
          <p:cNvSpPr>
            <a:spLocks noGrp="1"/>
          </p:cNvSpPr>
          <p:nvPr>
            <p:ph type="title"/>
          </p:nvPr>
        </p:nvSpPr>
        <p:spPr/>
        <p:txBody>
          <a:bodyPr vert="horz"/>
          <a:lstStyle/>
          <a:p>
            <a:r>
              <a:rPr lang="fr-FR" dirty="0"/>
              <a:t>Qui sommes nous?</a:t>
            </a:r>
          </a:p>
        </p:txBody>
      </p:sp>
      <p:pic>
        <p:nvPicPr>
          <p:cNvPr id="15" name="Espace réservé du contenu 14">
            <a:extLst>
              <a:ext uri="{FF2B5EF4-FFF2-40B4-BE49-F238E27FC236}">
                <a16:creationId xmlns:a16="http://schemas.microsoft.com/office/drawing/2014/main" id="{F519B4A4-E84D-4815-9E56-B3921BBADD42}"/>
              </a:ext>
            </a:extLst>
          </p:cNvPr>
          <p:cNvPicPr>
            <a:picLocks noGrp="1" noChangeAspect="1"/>
          </p:cNvPicPr>
          <p:nvPr>
            <p:ph idx="1"/>
          </p:nvPr>
        </p:nvPicPr>
        <p:blipFill>
          <a:blip r:embed="rId7" cstate="screen">
            <a:extLst>
              <a:ext uri="{28A0092B-C50C-407E-A947-70E740481C1C}">
                <a14:useLocalDpi xmlns:a14="http://schemas.microsoft.com/office/drawing/2010/main"/>
              </a:ext>
            </a:extLst>
          </a:blip>
          <a:stretch>
            <a:fillRect/>
          </a:stretch>
        </p:blipFill>
        <p:spPr>
          <a:xfrm>
            <a:off x="-193356" y="1528285"/>
            <a:ext cx="6271937" cy="4703953"/>
          </a:xfrm>
        </p:spPr>
      </p:pic>
      <p:sp>
        <p:nvSpPr>
          <p:cNvPr id="4" name="Espace réservé du texte 3">
            <a:extLst>
              <a:ext uri="{FF2B5EF4-FFF2-40B4-BE49-F238E27FC236}">
                <a16:creationId xmlns:a16="http://schemas.microsoft.com/office/drawing/2014/main" id="{12C93197-A3A1-41C6-A4E9-52A5FFE94E98}"/>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485BBB96-D33B-4339-9C91-CA492DA3D14F}"/>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B1966083-B4EA-4367-BFDC-5797F7CA8246}"/>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6AB999AA-6103-4ADE-A87C-95B76A5F1F08}"/>
              </a:ext>
            </a:extLst>
          </p:cNvPr>
          <p:cNvSpPr>
            <a:spLocks noGrp="1"/>
          </p:cNvSpPr>
          <p:nvPr>
            <p:ph type="sldNum" sz="quarter" idx="16"/>
          </p:nvPr>
        </p:nvSpPr>
        <p:spPr/>
        <p:txBody>
          <a:bodyPr/>
          <a:lstStyle/>
          <a:p>
            <a:fld id="{733122C9-A0B9-462F-8757-0847AD287B63}" type="slidenum">
              <a:rPr lang="fr-FR" smtClean="0"/>
              <a:pPr/>
              <a:t>2</a:t>
            </a:fld>
            <a:endParaRPr lang="fr-FR" dirty="0"/>
          </a:p>
        </p:txBody>
      </p:sp>
      <p:sp>
        <p:nvSpPr>
          <p:cNvPr id="20" name="Rectangle 19">
            <a:extLst>
              <a:ext uri="{FF2B5EF4-FFF2-40B4-BE49-F238E27FC236}">
                <a16:creationId xmlns:a16="http://schemas.microsoft.com/office/drawing/2014/main" id="{3084AD90-3E27-4B81-9557-DA3A22E1EC38}"/>
              </a:ext>
            </a:extLst>
          </p:cNvPr>
          <p:cNvSpPr/>
          <p:nvPr/>
        </p:nvSpPr>
        <p:spPr>
          <a:xfrm>
            <a:off x="6248675" y="2806272"/>
            <a:ext cx="2781170" cy="2147978"/>
          </a:xfrm>
          <a:prstGeom prst="rect">
            <a:avLst/>
          </a:prstGeom>
          <a:solidFill>
            <a:srgbClr val="1B9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solidFill>
                  <a:schemeClr val="bg1"/>
                </a:solidFill>
              </a:rPr>
              <a:t>Centre de </a:t>
            </a:r>
            <a:r>
              <a:rPr lang="fr-FR" sz="3200" b="1" dirty="0">
                <a:solidFill>
                  <a:schemeClr val="bg1"/>
                </a:solidFill>
              </a:rPr>
              <a:t>Valorisation </a:t>
            </a:r>
            <a:r>
              <a:rPr lang="fr-FR" sz="3200" dirty="0">
                <a:solidFill>
                  <a:schemeClr val="bg1"/>
                </a:solidFill>
              </a:rPr>
              <a:t>européen</a:t>
            </a:r>
          </a:p>
        </p:txBody>
      </p:sp>
    </p:spTree>
    <p:extLst>
      <p:ext uri="{BB962C8B-B14F-4D97-AF65-F5344CB8AC3E}">
        <p14:creationId xmlns:p14="http://schemas.microsoft.com/office/powerpoint/2010/main" val="23416410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4C2A2CE3-E96E-45B2-BC1D-5E22CAC00D30}"/>
              </a:ext>
            </a:extLst>
          </p:cNvPr>
          <p:cNvGraphicFramePr>
            <a:graphicFrameLocks noChangeAspect="1"/>
          </p:cNvGraphicFramePr>
          <p:nvPr>
            <p:custDataLst>
              <p:tags r:id="rId2"/>
            </p:custDataLst>
            <p:extLst>
              <p:ext uri="{D42A27DB-BD31-4B8C-83A1-F6EECF244321}">
                <p14:modId xmlns:p14="http://schemas.microsoft.com/office/powerpoint/2010/main" val="48168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Diapositive think-cell" r:id="rId5" imgW="344" imgH="344" progId="TCLayout.ActiveDocument.1">
                  <p:embed/>
                </p:oleObj>
              </mc:Choice>
              <mc:Fallback>
                <p:oleObj name="Diapositive think-cell" r:id="rId5" imgW="344" imgH="344" progId="TCLayout.ActiveDocument.1">
                  <p:embed/>
                  <p:pic>
                    <p:nvPicPr>
                      <p:cNvPr id="8" name="Objet 7" hidden="1">
                        <a:extLst>
                          <a:ext uri="{FF2B5EF4-FFF2-40B4-BE49-F238E27FC236}">
                            <a16:creationId xmlns:a16="http://schemas.microsoft.com/office/drawing/2014/main" id="{4C2A2CE3-E96E-45B2-BC1D-5E22CAC00D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D97133B-49FC-412C-880F-F54D47A73AAD}"/>
              </a:ext>
            </a:extLst>
          </p:cNvPr>
          <p:cNvSpPr>
            <a:spLocks noGrp="1"/>
          </p:cNvSpPr>
          <p:nvPr>
            <p:ph type="title"/>
          </p:nvPr>
        </p:nvSpPr>
        <p:spPr/>
        <p:txBody>
          <a:bodyPr vert="horz"/>
          <a:lstStyle/>
          <a:p>
            <a:r>
              <a:rPr lang="fr-FR" dirty="0"/>
              <a:t>Centre </a:t>
            </a:r>
            <a:r>
              <a:rPr lang="fr-FR" dirty="0" err="1"/>
              <a:t>europeen</a:t>
            </a:r>
            <a:endParaRPr lang="fr-FR" dirty="0"/>
          </a:p>
        </p:txBody>
      </p:sp>
      <p:sp>
        <p:nvSpPr>
          <p:cNvPr id="3" name="Espace réservé du contenu 2">
            <a:extLst>
              <a:ext uri="{FF2B5EF4-FFF2-40B4-BE49-F238E27FC236}">
                <a16:creationId xmlns:a16="http://schemas.microsoft.com/office/drawing/2014/main" id="{0C09806E-85B7-4F30-A0D1-9EA3AF108374}"/>
              </a:ext>
            </a:extLst>
          </p:cNvPr>
          <p:cNvSpPr>
            <a:spLocks noGrp="1"/>
          </p:cNvSpPr>
          <p:nvPr>
            <p:ph idx="1"/>
          </p:nvPr>
        </p:nvSpPr>
        <p:spPr/>
        <p:txBody>
          <a:bodyPr/>
          <a:lstStyle/>
          <a:p>
            <a:r>
              <a:rPr lang="fr-FR" dirty="0"/>
              <a:t>Limitation du tourisme industriel</a:t>
            </a:r>
          </a:p>
        </p:txBody>
      </p:sp>
      <p:sp>
        <p:nvSpPr>
          <p:cNvPr id="4" name="Espace réservé du texte 3">
            <a:extLst>
              <a:ext uri="{FF2B5EF4-FFF2-40B4-BE49-F238E27FC236}">
                <a16:creationId xmlns:a16="http://schemas.microsoft.com/office/drawing/2014/main" id="{6CD0D492-32A7-4609-B430-C27B33919E6E}"/>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300D88C2-64FE-4755-AA6D-D61870C2A837}"/>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81217A4D-2381-4F50-AB5B-01B5951F86D7}"/>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01D24D49-08E4-4847-87AB-88E07BA3D6AD}"/>
              </a:ext>
            </a:extLst>
          </p:cNvPr>
          <p:cNvSpPr>
            <a:spLocks noGrp="1"/>
          </p:cNvSpPr>
          <p:nvPr>
            <p:ph type="sldNum" sz="quarter" idx="16"/>
          </p:nvPr>
        </p:nvSpPr>
        <p:spPr/>
        <p:txBody>
          <a:bodyPr/>
          <a:lstStyle/>
          <a:p>
            <a:fld id="{733122C9-A0B9-462F-8757-0847AD287B63}" type="slidenum">
              <a:rPr lang="fr-FR" smtClean="0"/>
              <a:pPr/>
              <a:t>20</a:t>
            </a:fld>
            <a:endParaRPr lang="fr-FR" dirty="0"/>
          </a:p>
        </p:txBody>
      </p:sp>
      <p:pic>
        <p:nvPicPr>
          <p:cNvPr id="13" name="Image 12">
            <a:extLst>
              <a:ext uri="{FF2B5EF4-FFF2-40B4-BE49-F238E27FC236}">
                <a16:creationId xmlns:a16="http://schemas.microsoft.com/office/drawing/2014/main" id="{742EDDDC-DF0C-491C-948C-C6DD704ED971}"/>
              </a:ext>
            </a:extLst>
          </p:cNvPr>
          <p:cNvPicPr>
            <a:picLocks noChangeAspect="1"/>
          </p:cNvPicPr>
          <p:nvPr/>
        </p:nvPicPr>
        <p:blipFill>
          <a:blip r:embed="rId7"/>
          <a:stretch>
            <a:fillRect/>
          </a:stretch>
        </p:blipFill>
        <p:spPr>
          <a:xfrm>
            <a:off x="456930" y="2189284"/>
            <a:ext cx="8388132" cy="3130831"/>
          </a:xfrm>
          <a:prstGeom prst="rect">
            <a:avLst/>
          </a:prstGeom>
        </p:spPr>
      </p:pic>
      <p:sp>
        <p:nvSpPr>
          <p:cNvPr id="9" name="ZoneTexte 8">
            <a:extLst>
              <a:ext uri="{FF2B5EF4-FFF2-40B4-BE49-F238E27FC236}">
                <a16:creationId xmlns:a16="http://schemas.microsoft.com/office/drawing/2014/main" id="{F7B4C5C6-6D44-4495-B52C-5E1C97A390F9}"/>
              </a:ext>
            </a:extLst>
          </p:cNvPr>
          <p:cNvSpPr txBox="1"/>
          <p:nvPr/>
        </p:nvSpPr>
        <p:spPr>
          <a:xfrm>
            <a:off x="2505808" y="5616000"/>
            <a:ext cx="3420000" cy="230832"/>
          </a:xfrm>
          <a:prstGeom prst="rect">
            <a:avLst/>
          </a:prstGeom>
          <a:noFill/>
        </p:spPr>
        <p:txBody>
          <a:bodyPr wrap="square" rtlCol="0">
            <a:spAutoFit/>
          </a:bodyPr>
          <a:lstStyle/>
          <a:p>
            <a:r>
              <a:rPr lang="fr-FR" sz="900" dirty="0">
                <a:solidFill>
                  <a:schemeClr val="tx2"/>
                </a:solidFill>
              </a:rPr>
              <a:t>Les US sont parmi les principaux exportateurs vers l’Europe</a:t>
            </a:r>
          </a:p>
        </p:txBody>
      </p:sp>
      <p:sp>
        <p:nvSpPr>
          <p:cNvPr id="10" name="Rectangle 9">
            <a:extLst>
              <a:ext uri="{FF2B5EF4-FFF2-40B4-BE49-F238E27FC236}">
                <a16:creationId xmlns:a16="http://schemas.microsoft.com/office/drawing/2014/main" id="{CCA18419-CF4B-45AB-87FF-B58CE6343B8B}"/>
              </a:ext>
            </a:extLst>
          </p:cNvPr>
          <p:cNvSpPr/>
          <p:nvPr>
            <p:custDataLst>
              <p:tags r:id="rId3"/>
            </p:custDataLst>
          </p:nvPr>
        </p:nvSpPr>
        <p:spPr>
          <a:xfrm>
            <a:off x="2948588" y="2484699"/>
            <a:ext cx="2667000" cy="1270000"/>
          </a:xfrm>
          <a:prstGeom prst="rect">
            <a:avLst/>
          </a:prstGeom>
          <a:solidFill>
            <a:srgbClr val="FFFF8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rmAutofit/>
          </a:bodyPr>
          <a:lstStyle/>
          <a:p>
            <a:r>
              <a:rPr lang="fr-FR" sz="1400" dirty="0">
                <a:solidFill>
                  <a:srgbClr val="000000"/>
                </a:solidFill>
              </a:rPr>
              <a:t>A retravailler</a:t>
            </a:r>
          </a:p>
        </p:txBody>
      </p:sp>
    </p:spTree>
    <p:extLst>
      <p:ext uri="{BB962C8B-B14F-4D97-AF65-F5344CB8AC3E}">
        <p14:creationId xmlns:p14="http://schemas.microsoft.com/office/powerpoint/2010/main" val="31395694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1CE34E87-3C5F-4C56-B624-ABBFD753F189}"/>
              </a:ext>
            </a:extLst>
          </p:cNvPr>
          <p:cNvGraphicFramePr>
            <a:graphicFrameLocks noChangeAspect="1"/>
          </p:cNvGraphicFramePr>
          <p:nvPr>
            <p:custDataLst>
              <p:tags r:id="rId2"/>
            </p:custDataLst>
            <p:extLst>
              <p:ext uri="{D42A27DB-BD31-4B8C-83A1-F6EECF244321}">
                <p14:modId xmlns:p14="http://schemas.microsoft.com/office/powerpoint/2010/main" val="590336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Diapositive think-cell" r:id="rId4" imgW="395" imgH="394" progId="TCLayout.ActiveDocument.1">
                  <p:embed/>
                </p:oleObj>
              </mc:Choice>
              <mc:Fallback>
                <p:oleObj name="Diapositive think-cell" r:id="rId4" imgW="395" imgH="394" progId="TCLayout.ActiveDocument.1">
                  <p:embed/>
                  <p:pic>
                    <p:nvPicPr>
                      <p:cNvPr id="8" name="Objet 7" hidden="1">
                        <a:extLst>
                          <a:ext uri="{FF2B5EF4-FFF2-40B4-BE49-F238E27FC236}">
                            <a16:creationId xmlns:a16="http://schemas.microsoft.com/office/drawing/2014/main" id="{1CE34E87-3C5F-4C56-B624-ABBFD753F1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Image 13" descr="Une image contenant extérieur, terrain&#10;&#10;Description générée automatiquement">
            <a:extLst>
              <a:ext uri="{FF2B5EF4-FFF2-40B4-BE49-F238E27FC236}">
                <a16:creationId xmlns:a16="http://schemas.microsoft.com/office/drawing/2014/main" id="{A3280607-AE21-4F55-A152-01FA45A44E0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38" r="-40"/>
          <a:stretch/>
        </p:blipFill>
        <p:spPr>
          <a:xfrm>
            <a:off x="1" y="-9525"/>
            <a:ext cx="9167334" cy="6858000"/>
          </a:xfrm>
          <a:prstGeom prst="rect">
            <a:avLst/>
          </a:prstGeom>
        </p:spPr>
      </p:pic>
      <p:sp>
        <p:nvSpPr>
          <p:cNvPr id="4" name="Espace réservé du texte 3">
            <a:extLst>
              <a:ext uri="{FF2B5EF4-FFF2-40B4-BE49-F238E27FC236}">
                <a16:creationId xmlns:a16="http://schemas.microsoft.com/office/drawing/2014/main" id="{52B22362-66A9-4E55-ADAA-A7CDA6E58D32}"/>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83A08F53-F3F0-45BB-B27D-D2F5C8584C13}"/>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834CFE62-D88D-4C6E-B359-2CF9DAE2FF5D}"/>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2985AE1F-7175-42DD-825D-D8390FF40F71}"/>
              </a:ext>
            </a:extLst>
          </p:cNvPr>
          <p:cNvSpPr>
            <a:spLocks noGrp="1"/>
          </p:cNvSpPr>
          <p:nvPr>
            <p:ph type="sldNum" sz="quarter" idx="16"/>
          </p:nvPr>
        </p:nvSpPr>
        <p:spPr/>
        <p:txBody>
          <a:bodyPr/>
          <a:lstStyle/>
          <a:p>
            <a:fld id="{733122C9-A0B9-462F-8757-0847AD287B63}" type="slidenum">
              <a:rPr lang="fr-FR" smtClean="0"/>
              <a:pPr/>
              <a:t>3</a:t>
            </a:fld>
            <a:endParaRPr lang="fr-FR" dirty="0"/>
          </a:p>
        </p:txBody>
      </p:sp>
      <p:sp>
        <p:nvSpPr>
          <p:cNvPr id="31" name="Rectangle 30">
            <a:extLst>
              <a:ext uri="{FF2B5EF4-FFF2-40B4-BE49-F238E27FC236}">
                <a16:creationId xmlns:a16="http://schemas.microsoft.com/office/drawing/2014/main" id="{6740CC8E-8E30-4427-A892-0EE1C094C677}"/>
              </a:ext>
            </a:extLst>
          </p:cNvPr>
          <p:cNvSpPr/>
          <p:nvPr/>
        </p:nvSpPr>
        <p:spPr>
          <a:xfrm>
            <a:off x="4874268" y="4001904"/>
            <a:ext cx="2289683" cy="2249293"/>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9" name="Rectangle : coins arrondis 8">
            <a:extLst>
              <a:ext uri="{FF2B5EF4-FFF2-40B4-BE49-F238E27FC236}">
                <a16:creationId xmlns:a16="http://schemas.microsoft.com/office/drawing/2014/main" id="{A40F099C-110F-4A53-B9DC-78184A7335C7}"/>
              </a:ext>
            </a:extLst>
          </p:cNvPr>
          <p:cNvSpPr/>
          <p:nvPr/>
        </p:nvSpPr>
        <p:spPr>
          <a:xfrm>
            <a:off x="5128625" y="2006771"/>
            <a:ext cx="3475625" cy="4185911"/>
          </a:xfrm>
          <a:prstGeom prst="round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buFont typeface="Arial" panose="020B0604020202020204" pitchFamily="34" charset="0"/>
              <a:buChar char="›"/>
            </a:pPr>
            <a:r>
              <a:rPr lang="fr-FR" b="1" dirty="0">
                <a:solidFill>
                  <a:schemeClr val="bg1"/>
                </a:solidFill>
              </a:rPr>
              <a:t>JV entre Aubert &amp; Duval</a:t>
            </a:r>
          </a:p>
          <a:p>
            <a:pPr>
              <a:spcBef>
                <a:spcPts val="600"/>
              </a:spcBef>
            </a:pPr>
            <a:r>
              <a:rPr lang="fr-FR" b="1" dirty="0">
                <a:solidFill>
                  <a:schemeClr val="bg1"/>
                </a:solidFill>
              </a:rPr>
              <a:t>l’ADEME et Crédit-Agricole </a:t>
            </a:r>
          </a:p>
          <a:p>
            <a:pPr marL="285750" indent="-285750">
              <a:spcBef>
                <a:spcPts val="1200"/>
              </a:spcBef>
              <a:buFont typeface="Arial" panose="020B0604020202020204" pitchFamily="34" charset="0"/>
              <a:buChar char="›"/>
            </a:pPr>
            <a:r>
              <a:rPr lang="fr-FR" b="1" dirty="0">
                <a:solidFill>
                  <a:schemeClr val="bg1"/>
                </a:solidFill>
              </a:rPr>
              <a:t>Opérationnel de puis 2019</a:t>
            </a:r>
          </a:p>
          <a:p>
            <a:pPr marL="285750" indent="-285750">
              <a:spcBef>
                <a:spcPts val="1200"/>
              </a:spcBef>
              <a:buFont typeface="Arial" panose="020B0604020202020204" pitchFamily="34" charset="0"/>
              <a:buChar char="›"/>
            </a:pPr>
            <a:r>
              <a:rPr lang="fr-FR" b="1" dirty="0">
                <a:solidFill>
                  <a:schemeClr val="bg1"/>
                </a:solidFill>
              </a:rPr>
              <a:t>…</a:t>
            </a:r>
          </a:p>
          <a:p>
            <a:pPr marL="285750" indent="-285750">
              <a:spcBef>
                <a:spcPts val="1200"/>
              </a:spcBef>
              <a:buFont typeface="Arial" panose="020B0604020202020204" pitchFamily="34" charset="0"/>
              <a:buChar char="›"/>
            </a:pPr>
            <a:r>
              <a:rPr lang="fr-FR" b="1" dirty="0">
                <a:solidFill>
                  <a:schemeClr val="bg1"/>
                </a:solidFill>
              </a:rPr>
              <a:t>EN9100 / qualif</a:t>
            </a:r>
          </a:p>
          <a:p>
            <a:pPr marL="285750" indent="-285750">
              <a:spcBef>
                <a:spcPts val="1200"/>
              </a:spcBef>
              <a:buFont typeface="Arial" panose="020B0604020202020204" pitchFamily="34" charset="0"/>
              <a:buChar char="›"/>
            </a:pPr>
            <a:r>
              <a:rPr lang="fr-FR" b="1" dirty="0">
                <a:solidFill>
                  <a:schemeClr val="bg1"/>
                </a:solidFill>
              </a:rPr>
              <a:t>Applications :</a:t>
            </a:r>
          </a:p>
          <a:p>
            <a:pPr marL="285750" indent="-285750">
              <a:buFont typeface="Arial" panose="020B0604020202020204" pitchFamily="34" charset="0"/>
              <a:buChar char="›"/>
            </a:pPr>
            <a:endParaRPr lang="fr-FR" b="1" dirty="0">
              <a:solidFill>
                <a:schemeClr val="bg1"/>
              </a:solidFill>
            </a:endParaRPr>
          </a:p>
        </p:txBody>
      </p:sp>
      <p:pic>
        <p:nvPicPr>
          <p:cNvPr id="11" name="Image 10">
            <a:extLst>
              <a:ext uri="{FF2B5EF4-FFF2-40B4-BE49-F238E27FC236}">
                <a16:creationId xmlns:a16="http://schemas.microsoft.com/office/drawing/2014/main" id="{1F57A23A-931B-4701-9C31-35B740AA233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651068" y="436190"/>
            <a:ext cx="2262092" cy="914788"/>
          </a:xfrm>
          <a:prstGeom prst="rect">
            <a:avLst/>
          </a:prstGeom>
        </p:spPr>
      </p:pic>
    </p:spTree>
    <p:extLst>
      <p:ext uri="{BB962C8B-B14F-4D97-AF65-F5344CB8AC3E}">
        <p14:creationId xmlns:p14="http://schemas.microsoft.com/office/powerpoint/2010/main" val="2157271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E6F62AD-EDED-4205-9DB1-618718DC4FB7}"/>
              </a:ext>
            </a:extLst>
          </p:cNvPr>
          <p:cNvSpPr>
            <a:spLocks noGrp="1"/>
          </p:cNvSpPr>
          <p:nvPr>
            <p:ph type="title"/>
          </p:nvPr>
        </p:nvSpPr>
        <p:spPr/>
        <p:txBody>
          <a:bodyPr/>
          <a:lstStyle/>
          <a:p>
            <a:endParaRPr lang="fr-FR"/>
          </a:p>
        </p:txBody>
      </p:sp>
      <p:sp>
        <p:nvSpPr>
          <p:cNvPr id="3" name="Espace réservé du contenu 2">
            <a:extLst>
              <a:ext uri="{FF2B5EF4-FFF2-40B4-BE49-F238E27FC236}">
                <a16:creationId xmlns:a16="http://schemas.microsoft.com/office/drawing/2014/main" id="{E69AC742-0E80-4E55-97CC-CB17088F752B}"/>
              </a:ext>
            </a:extLst>
          </p:cNvPr>
          <p:cNvSpPr>
            <a:spLocks noGrp="1"/>
          </p:cNvSpPr>
          <p:nvPr>
            <p:ph idx="1"/>
          </p:nvPr>
        </p:nvSpPr>
        <p:spPr/>
        <p:txBody>
          <a:bodyPr/>
          <a:lstStyle/>
          <a:p>
            <a:endParaRPr lang="fr-FR"/>
          </a:p>
        </p:txBody>
      </p:sp>
      <p:sp>
        <p:nvSpPr>
          <p:cNvPr id="4" name="Espace réservé du texte 3">
            <a:extLst>
              <a:ext uri="{FF2B5EF4-FFF2-40B4-BE49-F238E27FC236}">
                <a16:creationId xmlns:a16="http://schemas.microsoft.com/office/drawing/2014/main" id="{980455E7-E1FB-4595-8702-B469BA91F73A}"/>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5C5766A3-A1F9-4FF6-B009-0D38EF15DF5C}"/>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A081611C-A062-437B-9932-948553A78628}"/>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28AA8510-6042-4A2E-9A48-232A1F003BA3}"/>
              </a:ext>
            </a:extLst>
          </p:cNvPr>
          <p:cNvSpPr>
            <a:spLocks noGrp="1"/>
          </p:cNvSpPr>
          <p:nvPr>
            <p:ph type="sldNum" sz="quarter" idx="16"/>
          </p:nvPr>
        </p:nvSpPr>
        <p:spPr/>
        <p:txBody>
          <a:bodyPr/>
          <a:lstStyle/>
          <a:p>
            <a:fld id="{733122C9-A0B9-462F-8757-0847AD287B63}" type="slidenum">
              <a:rPr lang="fr-FR" smtClean="0"/>
              <a:pPr/>
              <a:t>4</a:t>
            </a:fld>
            <a:endParaRPr lang="fr-FR" dirty="0"/>
          </a:p>
        </p:txBody>
      </p:sp>
    </p:spTree>
    <p:extLst>
      <p:ext uri="{BB962C8B-B14F-4D97-AF65-F5344CB8AC3E}">
        <p14:creationId xmlns:p14="http://schemas.microsoft.com/office/powerpoint/2010/main" val="446668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1CE34E87-3C5F-4C56-B624-ABBFD753F189}"/>
              </a:ext>
            </a:extLst>
          </p:cNvPr>
          <p:cNvGraphicFramePr>
            <a:graphicFrameLocks noChangeAspect="1"/>
          </p:cNvGraphicFramePr>
          <p:nvPr>
            <p:custDataLst>
              <p:tags r:id="rId2"/>
            </p:custDataLst>
            <p:extLst>
              <p:ext uri="{D42A27DB-BD31-4B8C-83A1-F6EECF244321}">
                <p14:modId xmlns:p14="http://schemas.microsoft.com/office/powerpoint/2010/main" val="573298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Diapositive think-cell" r:id="rId4" imgW="395" imgH="394" progId="TCLayout.ActiveDocument.1">
                  <p:embed/>
                </p:oleObj>
              </mc:Choice>
              <mc:Fallback>
                <p:oleObj name="Diapositive think-cell" r:id="rId4" imgW="395" imgH="394" progId="TCLayout.ActiveDocument.1">
                  <p:embed/>
                  <p:pic>
                    <p:nvPicPr>
                      <p:cNvPr id="8" name="Objet 7" hidden="1">
                        <a:extLst>
                          <a:ext uri="{FF2B5EF4-FFF2-40B4-BE49-F238E27FC236}">
                            <a16:creationId xmlns:a16="http://schemas.microsoft.com/office/drawing/2014/main" id="{1CE34E87-3C5F-4C56-B624-ABBFD753F1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Image 19">
            <a:extLst>
              <a:ext uri="{FF2B5EF4-FFF2-40B4-BE49-F238E27FC236}">
                <a16:creationId xmlns:a16="http://schemas.microsoft.com/office/drawing/2014/main" id="{6AE84CF5-84C1-41C4-AD67-09F26EF3BE9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46"/>
          <a:stretch/>
        </p:blipFill>
        <p:spPr>
          <a:xfrm>
            <a:off x="1" y="-863957"/>
            <a:ext cx="9201150" cy="7721957"/>
          </a:xfrm>
          <a:prstGeom prst="rect">
            <a:avLst/>
          </a:prstGeom>
        </p:spPr>
      </p:pic>
      <p:sp>
        <p:nvSpPr>
          <p:cNvPr id="4" name="Espace réservé du texte 3">
            <a:extLst>
              <a:ext uri="{FF2B5EF4-FFF2-40B4-BE49-F238E27FC236}">
                <a16:creationId xmlns:a16="http://schemas.microsoft.com/office/drawing/2014/main" id="{52B22362-66A9-4E55-ADAA-A7CDA6E58D32}"/>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83A08F53-F3F0-45BB-B27D-D2F5C8584C13}"/>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834CFE62-D88D-4C6E-B359-2CF9DAE2FF5D}"/>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2985AE1F-7175-42DD-825D-D8390FF40F71}"/>
              </a:ext>
            </a:extLst>
          </p:cNvPr>
          <p:cNvSpPr>
            <a:spLocks noGrp="1"/>
          </p:cNvSpPr>
          <p:nvPr>
            <p:ph type="sldNum" sz="quarter" idx="16"/>
          </p:nvPr>
        </p:nvSpPr>
        <p:spPr/>
        <p:txBody>
          <a:bodyPr/>
          <a:lstStyle/>
          <a:p>
            <a:fld id="{733122C9-A0B9-462F-8757-0847AD287B63}" type="slidenum">
              <a:rPr lang="fr-FR" smtClean="0"/>
              <a:pPr/>
              <a:t>5</a:t>
            </a:fld>
            <a:endParaRPr lang="fr-FR" dirty="0"/>
          </a:p>
        </p:txBody>
      </p:sp>
      <p:sp>
        <p:nvSpPr>
          <p:cNvPr id="31" name="Rectangle 30">
            <a:extLst>
              <a:ext uri="{FF2B5EF4-FFF2-40B4-BE49-F238E27FC236}">
                <a16:creationId xmlns:a16="http://schemas.microsoft.com/office/drawing/2014/main" id="{6740CC8E-8E30-4427-A892-0EE1C094C677}"/>
              </a:ext>
            </a:extLst>
          </p:cNvPr>
          <p:cNvSpPr/>
          <p:nvPr/>
        </p:nvSpPr>
        <p:spPr>
          <a:xfrm>
            <a:off x="4874268" y="4001904"/>
            <a:ext cx="2289683" cy="2249293"/>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endParaRPr lang="fr-FR"/>
          </a:p>
        </p:txBody>
      </p:sp>
      <p:pic>
        <p:nvPicPr>
          <p:cNvPr id="17" name="Image 16">
            <a:extLst>
              <a:ext uri="{FF2B5EF4-FFF2-40B4-BE49-F238E27FC236}">
                <a16:creationId xmlns:a16="http://schemas.microsoft.com/office/drawing/2014/main" id="{5A5C111B-5C56-491C-846C-B2D436F821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05591" y="517588"/>
            <a:ext cx="1867701" cy="925622"/>
          </a:xfrm>
          <a:prstGeom prst="rect">
            <a:avLst/>
          </a:prstGeom>
        </p:spPr>
      </p:pic>
      <p:sp>
        <p:nvSpPr>
          <p:cNvPr id="9" name="Rectangle : coins arrondis 8">
            <a:extLst>
              <a:ext uri="{FF2B5EF4-FFF2-40B4-BE49-F238E27FC236}">
                <a16:creationId xmlns:a16="http://schemas.microsoft.com/office/drawing/2014/main" id="{A40F099C-110F-4A53-B9DC-78184A7335C7}"/>
              </a:ext>
            </a:extLst>
          </p:cNvPr>
          <p:cNvSpPr/>
          <p:nvPr/>
        </p:nvSpPr>
        <p:spPr>
          <a:xfrm>
            <a:off x="5129440" y="2006771"/>
            <a:ext cx="3474809" cy="4185911"/>
          </a:xfrm>
          <a:prstGeom prst="round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1200"/>
              </a:spcBef>
              <a:buFont typeface="Arial" panose="020B0604020202020204" pitchFamily="34" charset="0"/>
              <a:buChar char="›"/>
            </a:pPr>
            <a:r>
              <a:rPr lang="fr-FR" b="1" dirty="0">
                <a:solidFill>
                  <a:schemeClr val="bg1"/>
                </a:solidFill>
              </a:rPr>
              <a:t>JV entre UKTMP et Aubert &amp; Duval</a:t>
            </a:r>
          </a:p>
          <a:p>
            <a:pPr marL="285750" indent="-285750">
              <a:spcBef>
                <a:spcPts val="1200"/>
              </a:spcBef>
              <a:buFont typeface="Arial" panose="020B0604020202020204" pitchFamily="34" charset="0"/>
              <a:buChar char="›"/>
            </a:pPr>
            <a:r>
              <a:rPr lang="fr-FR" b="1" dirty="0">
                <a:solidFill>
                  <a:schemeClr val="bg1"/>
                </a:solidFill>
              </a:rPr>
              <a:t>Opérationnel de puis 2011</a:t>
            </a:r>
          </a:p>
          <a:p>
            <a:pPr marL="285750" indent="-285750">
              <a:spcBef>
                <a:spcPts val="1200"/>
              </a:spcBef>
              <a:buFont typeface="Arial" panose="020B0604020202020204" pitchFamily="34" charset="0"/>
              <a:buChar char="›"/>
            </a:pPr>
            <a:r>
              <a:rPr lang="fr-FR" b="1" dirty="0">
                <a:solidFill>
                  <a:schemeClr val="bg1"/>
                </a:solidFill>
              </a:rPr>
              <a:t>…</a:t>
            </a:r>
          </a:p>
          <a:p>
            <a:pPr marL="285750" indent="-285750">
              <a:spcBef>
                <a:spcPts val="1200"/>
              </a:spcBef>
              <a:buFont typeface="Arial" panose="020B0604020202020204" pitchFamily="34" charset="0"/>
              <a:buChar char="›"/>
            </a:pPr>
            <a:r>
              <a:rPr lang="fr-FR" b="1" dirty="0">
                <a:solidFill>
                  <a:schemeClr val="bg1"/>
                </a:solidFill>
              </a:rPr>
              <a:t>EN9100 / qualif</a:t>
            </a:r>
          </a:p>
          <a:p>
            <a:pPr marL="285750" indent="-285750">
              <a:spcBef>
                <a:spcPts val="1200"/>
              </a:spcBef>
              <a:buFont typeface="Arial" panose="020B0604020202020204" pitchFamily="34" charset="0"/>
              <a:buChar char="›"/>
            </a:pPr>
            <a:r>
              <a:rPr lang="fr-FR" b="1" dirty="0">
                <a:solidFill>
                  <a:schemeClr val="bg1"/>
                </a:solidFill>
              </a:rPr>
              <a:t>Applications :</a:t>
            </a:r>
          </a:p>
          <a:p>
            <a:pPr marL="285750" indent="-285750">
              <a:buFont typeface="Arial" panose="020B0604020202020204" pitchFamily="34" charset="0"/>
              <a:buChar char="›"/>
            </a:pPr>
            <a:endParaRPr lang="fr-FR" b="1" dirty="0">
              <a:solidFill>
                <a:schemeClr val="bg1"/>
              </a:solidFill>
            </a:endParaRPr>
          </a:p>
        </p:txBody>
      </p:sp>
    </p:spTree>
    <p:extLst>
      <p:ext uri="{BB962C8B-B14F-4D97-AF65-F5344CB8AC3E}">
        <p14:creationId xmlns:p14="http://schemas.microsoft.com/office/powerpoint/2010/main" val="18974317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C7190FE8-53A8-4549-BB6D-FA151340F017}"/>
              </a:ext>
            </a:extLst>
          </p:cNvPr>
          <p:cNvGraphicFramePr>
            <a:graphicFrameLocks noChangeAspect="1"/>
          </p:cNvGraphicFramePr>
          <p:nvPr>
            <p:custDataLst>
              <p:tags r:id="rId2"/>
            </p:custDataLst>
            <p:extLst>
              <p:ext uri="{D42A27DB-BD31-4B8C-83A1-F6EECF244321}">
                <p14:modId xmlns:p14="http://schemas.microsoft.com/office/powerpoint/2010/main" val="92050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Diapositive think-cell" r:id="rId4" imgW="344" imgH="344" progId="TCLayout.ActiveDocument.1">
                  <p:embed/>
                </p:oleObj>
              </mc:Choice>
              <mc:Fallback>
                <p:oleObj name="Diapositive think-cell" r:id="rId4" imgW="344" imgH="344" progId="TCLayout.ActiveDocument.1">
                  <p:embed/>
                  <p:pic>
                    <p:nvPicPr>
                      <p:cNvPr id="3" name="Objet 2" hidden="1">
                        <a:extLst>
                          <a:ext uri="{FF2B5EF4-FFF2-40B4-BE49-F238E27FC236}">
                            <a16:creationId xmlns:a16="http://schemas.microsoft.com/office/drawing/2014/main" id="{C7190FE8-53A8-4549-BB6D-FA151340F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2445CC1-E043-4040-BCDF-D8608B53090E}"/>
              </a:ext>
            </a:extLst>
          </p:cNvPr>
          <p:cNvSpPr>
            <a:spLocks noGrp="1"/>
          </p:cNvSpPr>
          <p:nvPr>
            <p:ph type="title"/>
          </p:nvPr>
        </p:nvSpPr>
        <p:spPr/>
        <p:txBody>
          <a:bodyPr/>
          <a:lstStyle/>
          <a:p>
            <a:endParaRPr lang="fr-FR"/>
          </a:p>
        </p:txBody>
      </p:sp>
      <p:sp>
        <p:nvSpPr>
          <p:cNvPr id="5" name="Espace réservé de la date 4">
            <a:extLst>
              <a:ext uri="{FF2B5EF4-FFF2-40B4-BE49-F238E27FC236}">
                <a16:creationId xmlns:a16="http://schemas.microsoft.com/office/drawing/2014/main" id="{96A23C80-A59B-478D-AD3F-C25D1323B5A2}"/>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DA984CED-0039-4649-951E-BA8C6288DDF0}"/>
              </a:ext>
            </a:extLst>
          </p:cNvPr>
          <p:cNvSpPr>
            <a:spLocks noGrp="1"/>
          </p:cNvSpPr>
          <p:nvPr>
            <p:ph type="ftr" sz="quarter" idx="15"/>
          </p:nvPr>
        </p:nvSpPr>
        <p:spPr>
          <a:xfrm>
            <a:off x="842472" y="6192682"/>
            <a:ext cx="3420000" cy="440684"/>
          </a:xfrm>
        </p:spPr>
        <p:txBody>
          <a:bodyPr/>
          <a:lstStyle/>
          <a:p>
            <a:pPr algn="l"/>
            <a:r>
              <a:rPr lang="fr-FR" dirty="0"/>
              <a:t>Titre de la présentation - 00/00/00</a:t>
            </a:r>
          </a:p>
        </p:txBody>
      </p:sp>
      <p:sp>
        <p:nvSpPr>
          <p:cNvPr id="7" name="Espace réservé du numéro de diapositive 6">
            <a:extLst>
              <a:ext uri="{FF2B5EF4-FFF2-40B4-BE49-F238E27FC236}">
                <a16:creationId xmlns:a16="http://schemas.microsoft.com/office/drawing/2014/main" id="{8CF951D5-3200-4E04-AA9B-F638F71ADB54}"/>
              </a:ext>
            </a:extLst>
          </p:cNvPr>
          <p:cNvSpPr>
            <a:spLocks noGrp="1"/>
          </p:cNvSpPr>
          <p:nvPr>
            <p:ph type="sldNum" sz="quarter" idx="16"/>
          </p:nvPr>
        </p:nvSpPr>
        <p:spPr/>
        <p:txBody>
          <a:bodyPr/>
          <a:lstStyle/>
          <a:p>
            <a:fld id="{733122C9-A0B9-462F-8757-0847AD287B63}" type="slidenum">
              <a:rPr lang="fr-FR" smtClean="0"/>
              <a:pPr/>
              <a:t>6</a:t>
            </a:fld>
            <a:endParaRPr lang="fr-FR" dirty="0"/>
          </a:p>
        </p:txBody>
      </p:sp>
      <p:sp>
        <p:nvSpPr>
          <p:cNvPr id="8" name="TextBox 24">
            <a:extLst>
              <a:ext uri="{FF2B5EF4-FFF2-40B4-BE49-F238E27FC236}">
                <a16:creationId xmlns:a16="http://schemas.microsoft.com/office/drawing/2014/main" id="{5DAF58ED-14AC-40AD-87DD-65DA444C9D6E}"/>
              </a:ext>
            </a:extLst>
          </p:cNvPr>
          <p:cNvSpPr txBox="1"/>
          <p:nvPr/>
        </p:nvSpPr>
        <p:spPr>
          <a:xfrm>
            <a:off x="539751" y="4356707"/>
            <a:ext cx="4032250" cy="1708160"/>
          </a:xfrm>
          <a:prstGeom prst="rect">
            <a:avLst/>
          </a:prstGeom>
          <a:noFill/>
        </p:spPr>
        <p:txBody>
          <a:bodyPr wrap="square" lIns="0" rIns="0" rtlCol="0" anchor="b">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Traçabilité</a:t>
            </a:r>
          </a:p>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Qualité</a:t>
            </a:r>
          </a:p>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State of the art</a:t>
            </a:r>
          </a:p>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Excellence technique et environnementale</a:t>
            </a:r>
          </a:p>
        </p:txBody>
      </p:sp>
      <p:pic>
        <p:nvPicPr>
          <p:cNvPr id="10" name="Image 9">
            <a:extLst>
              <a:ext uri="{FF2B5EF4-FFF2-40B4-BE49-F238E27FC236}">
                <a16:creationId xmlns:a16="http://schemas.microsoft.com/office/drawing/2014/main" id="{DD1B20D0-B9B5-4D31-BFFF-FD8B82524E0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111750" y="0"/>
            <a:ext cx="4032250" cy="6858000"/>
          </a:xfrm>
          <a:prstGeom prst="rect">
            <a:avLst/>
          </a:prstGeom>
        </p:spPr>
      </p:pic>
      <p:sp>
        <p:nvSpPr>
          <p:cNvPr id="11" name="TextBox 25">
            <a:extLst>
              <a:ext uri="{FF2B5EF4-FFF2-40B4-BE49-F238E27FC236}">
                <a16:creationId xmlns:a16="http://schemas.microsoft.com/office/drawing/2014/main" id="{A36E8F9E-B474-463D-A286-66B2A870AFA6}"/>
              </a:ext>
            </a:extLst>
          </p:cNvPr>
          <p:cNvSpPr txBox="1"/>
          <p:nvPr/>
        </p:nvSpPr>
        <p:spPr>
          <a:xfrm>
            <a:off x="539550" y="3811661"/>
            <a:ext cx="4987551" cy="584775"/>
          </a:xfrm>
          <a:prstGeom prst="rect">
            <a:avLst/>
          </a:prstGeom>
          <a:noFill/>
        </p:spPr>
        <p:txBody>
          <a:bodyPr wrap="square" lIns="0" rIns="0" rtlCol="0">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IN" sz="3200" b="1" dirty="0">
                <a:solidFill>
                  <a:srgbClr val="1B9D91"/>
                </a:solidFill>
                <a:latin typeface="Open Sans" panose="020B0606030504020204" pitchFamily="34" charset="0"/>
                <a:ea typeface="Open Sans" panose="020B0606030504020204" pitchFamily="34" charset="0"/>
                <a:cs typeface="Open Sans" panose="020B0606030504020204" pitchFamily="34" charset="0"/>
              </a:rPr>
              <a:t>Nos </a:t>
            </a:r>
            <a:r>
              <a:rPr lang="en-IN" sz="3200" b="1" dirty="0" err="1">
                <a:solidFill>
                  <a:srgbClr val="1B9D91"/>
                </a:solidFill>
                <a:latin typeface="Open Sans" panose="020B0606030504020204" pitchFamily="34" charset="0"/>
                <a:ea typeface="Open Sans" panose="020B0606030504020204" pitchFamily="34" charset="0"/>
                <a:cs typeface="Open Sans" panose="020B0606030504020204" pitchFamily="34" charset="0"/>
              </a:rPr>
              <a:t>Piliers</a:t>
            </a:r>
            <a:endParaRPr lang="en-IN" sz="3200" b="1" dirty="0">
              <a:solidFill>
                <a:srgbClr val="1B9D9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24">
            <a:extLst>
              <a:ext uri="{FF2B5EF4-FFF2-40B4-BE49-F238E27FC236}">
                <a16:creationId xmlns:a16="http://schemas.microsoft.com/office/drawing/2014/main" id="{0A0620F9-8FBB-4D15-87D2-4C7A0B0E2C34}"/>
              </a:ext>
            </a:extLst>
          </p:cNvPr>
          <p:cNvSpPr txBox="1"/>
          <p:nvPr/>
        </p:nvSpPr>
        <p:spPr>
          <a:xfrm>
            <a:off x="539750" y="1322644"/>
            <a:ext cx="4032250" cy="1896930"/>
          </a:xfrm>
          <a:prstGeom prst="rect">
            <a:avLst/>
          </a:prstGeom>
          <a:noFill/>
        </p:spPr>
        <p:txBody>
          <a:bodyPr wrap="square" lIns="0" rIns="0" rtlCol="0" anchor="b">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nSpc>
                <a:spcPct val="110000"/>
              </a:lnSpc>
              <a:defRPr/>
            </a:pPr>
            <a:r>
              <a:rPr lang="en-US" sz="1800" b="1" kern="0" dirty="0" err="1">
                <a:solidFill>
                  <a:schemeClr val="tx2"/>
                </a:solidFill>
                <a:ea typeface="Open Sans" panose="020B0606030504020204" pitchFamily="34" charset="0"/>
                <a:cs typeface="Open Sans" panose="020B0606030504020204" pitchFamily="34" charset="0"/>
              </a:rPr>
              <a:t>Créateur</a:t>
            </a:r>
            <a:r>
              <a:rPr lang="en-US" sz="1800" b="1" kern="0" dirty="0">
                <a:solidFill>
                  <a:schemeClr val="tx2"/>
                </a:solidFill>
                <a:ea typeface="Open Sans" panose="020B0606030504020204" pitchFamily="34" charset="0"/>
                <a:cs typeface="Open Sans" panose="020B0606030504020204" pitchFamily="34" charset="0"/>
              </a:rPr>
              <a:t> de </a:t>
            </a:r>
            <a:r>
              <a:rPr lang="en-US" sz="1800" b="1" kern="0" dirty="0" err="1">
                <a:solidFill>
                  <a:schemeClr val="tx2"/>
                </a:solidFill>
                <a:ea typeface="Open Sans" panose="020B0606030504020204" pitchFamily="34" charset="0"/>
                <a:cs typeface="Open Sans" panose="020B0606030504020204" pitchFamily="34" charset="0"/>
              </a:rPr>
              <a:t>valeur</a:t>
            </a:r>
            <a:r>
              <a:rPr lang="en-US" sz="1800" b="1" kern="0" dirty="0">
                <a:solidFill>
                  <a:schemeClr val="tx2"/>
                </a:solidFill>
                <a:ea typeface="Open Sans" panose="020B0606030504020204" pitchFamily="34" charset="0"/>
                <a:cs typeface="Open Sans" panose="020B0606030504020204" pitchFamily="34" charset="0"/>
              </a:rPr>
              <a:t> </a:t>
            </a:r>
            <a:r>
              <a:rPr lang="en-US" sz="1800" kern="0" dirty="0" err="1">
                <a:solidFill>
                  <a:schemeClr val="tx2"/>
                </a:solidFill>
                <a:ea typeface="Open Sans" panose="020B0606030504020204" pitchFamily="34" charset="0"/>
                <a:cs typeface="Open Sans" panose="020B0606030504020204" pitchFamily="34" charset="0"/>
              </a:rPr>
              <a:t>en</a:t>
            </a:r>
            <a:r>
              <a:rPr lang="en-US" sz="1800" kern="0" dirty="0">
                <a:solidFill>
                  <a:schemeClr val="tx2"/>
                </a:solidFill>
                <a:ea typeface="Open Sans" panose="020B0606030504020204" pitchFamily="34" charset="0"/>
                <a:cs typeface="Open Sans" panose="020B0606030504020204" pitchFamily="34" charset="0"/>
              </a:rPr>
              <a:t> </a:t>
            </a:r>
            <a:r>
              <a:rPr lang="en-US" sz="1800" kern="0" dirty="0" err="1">
                <a:solidFill>
                  <a:schemeClr val="tx2"/>
                </a:solidFill>
                <a:ea typeface="Open Sans" panose="020B0606030504020204" pitchFamily="34" charset="0"/>
                <a:cs typeface="Open Sans" panose="020B0606030504020204" pitchFamily="34" charset="0"/>
              </a:rPr>
              <a:t>régénérant</a:t>
            </a:r>
            <a:r>
              <a:rPr lang="en-US" sz="1800" kern="0" dirty="0">
                <a:solidFill>
                  <a:schemeClr val="tx2"/>
                </a:solidFill>
                <a:ea typeface="Open Sans" panose="020B0606030504020204" pitchFamily="34" charset="0"/>
                <a:cs typeface="Open Sans" panose="020B0606030504020204" pitchFamily="34" charset="0"/>
              </a:rPr>
              <a:t>/transformant les matières </a:t>
            </a:r>
            <a:r>
              <a:rPr lang="en-US" sz="1800" kern="0" dirty="0" err="1">
                <a:solidFill>
                  <a:schemeClr val="tx2"/>
                </a:solidFill>
                <a:ea typeface="Open Sans" panose="020B0606030504020204" pitchFamily="34" charset="0"/>
                <a:cs typeface="Open Sans" panose="020B0606030504020204" pitchFamily="34" charset="0"/>
              </a:rPr>
              <a:t>réversibles</a:t>
            </a:r>
            <a:r>
              <a:rPr lang="en-US" sz="1800" kern="0" dirty="0">
                <a:solidFill>
                  <a:schemeClr val="tx2"/>
                </a:solidFill>
                <a:ea typeface="Open Sans" panose="020B0606030504020204" pitchFamily="34" charset="0"/>
                <a:cs typeface="Open Sans" panose="020B0606030504020204" pitchFamily="34" charset="0"/>
              </a:rPr>
              <a:t> </a:t>
            </a:r>
            <a:r>
              <a:rPr lang="en-US" sz="1800" kern="0" dirty="0" err="1">
                <a:solidFill>
                  <a:schemeClr val="tx2"/>
                </a:solidFill>
                <a:ea typeface="Open Sans" panose="020B0606030504020204" pitchFamily="34" charset="0"/>
                <a:cs typeface="Open Sans" panose="020B0606030504020204" pitchFamily="34" charset="0"/>
              </a:rPr>
              <a:t>en</a:t>
            </a:r>
            <a:r>
              <a:rPr lang="en-US" sz="1800" kern="0" dirty="0">
                <a:solidFill>
                  <a:schemeClr val="tx2"/>
                </a:solidFill>
                <a:ea typeface="Open Sans" panose="020B0606030504020204" pitchFamily="34" charset="0"/>
                <a:cs typeface="Open Sans" panose="020B0606030504020204" pitchFamily="34" charset="0"/>
              </a:rPr>
              <a:t> demi-</a:t>
            </a:r>
            <a:r>
              <a:rPr lang="en-US" sz="1800" kern="0" dirty="0" err="1">
                <a:solidFill>
                  <a:schemeClr val="tx2"/>
                </a:solidFill>
                <a:ea typeface="Open Sans" panose="020B0606030504020204" pitchFamily="34" charset="0"/>
                <a:cs typeface="Open Sans" panose="020B0606030504020204" pitchFamily="34" charset="0"/>
              </a:rPr>
              <a:t>produits</a:t>
            </a:r>
            <a:r>
              <a:rPr lang="en-US" sz="1800" kern="0" dirty="0">
                <a:solidFill>
                  <a:schemeClr val="tx2"/>
                </a:solidFill>
                <a:ea typeface="Open Sans" panose="020B0606030504020204" pitchFamily="34" charset="0"/>
                <a:cs typeface="Open Sans" panose="020B0606030504020204" pitchFamily="34" charset="0"/>
              </a:rPr>
              <a:t> de haute </a:t>
            </a:r>
            <a:r>
              <a:rPr lang="en-US" sz="1800" kern="0" dirty="0" err="1">
                <a:solidFill>
                  <a:schemeClr val="tx2"/>
                </a:solidFill>
                <a:ea typeface="Open Sans" panose="020B0606030504020204" pitchFamily="34" charset="0"/>
                <a:cs typeface="Open Sans" panose="020B0606030504020204" pitchFamily="34" charset="0"/>
              </a:rPr>
              <a:t>qualité</a:t>
            </a:r>
            <a:r>
              <a:rPr lang="en-US" sz="1800" kern="0" dirty="0">
                <a:solidFill>
                  <a:schemeClr val="tx2"/>
                </a:solidFill>
                <a:ea typeface="Open Sans" panose="020B0606030504020204" pitchFamily="34" charset="0"/>
                <a:cs typeface="Open Sans" panose="020B0606030504020204" pitchFamily="34" charset="0"/>
              </a:rPr>
              <a:t> (high quality / critical-mission)</a:t>
            </a:r>
          </a:p>
          <a:p>
            <a:pPr>
              <a:lnSpc>
                <a:spcPct val="110000"/>
              </a:lnSpc>
              <a:defRPr/>
            </a:pPr>
            <a:r>
              <a:rPr lang="en-US" sz="1800" kern="0" dirty="0">
                <a:solidFill>
                  <a:schemeClr val="tx2"/>
                </a:solidFill>
                <a:ea typeface="Open Sans" panose="020B0606030504020204" pitchFamily="34" charset="0"/>
                <a:cs typeface="Open Sans" panose="020B0606030504020204" pitchFamily="34" charset="0"/>
              </a:rPr>
              <a:t>pour les applications les plus </a:t>
            </a:r>
            <a:r>
              <a:rPr lang="en-US" sz="1800" kern="0" dirty="0" err="1">
                <a:solidFill>
                  <a:schemeClr val="tx2"/>
                </a:solidFill>
                <a:ea typeface="Open Sans" panose="020B0606030504020204" pitchFamily="34" charset="0"/>
                <a:cs typeface="Open Sans" panose="020B0606030504020204" pitchFamily="34" charset="0"/>
              </a:rPr>
              <a:t>exigeantes</a:t>
            </a:r>
            <a:endParaRPr lang="en-US" sz="1800" kern="0" dirty="0">
              <a:solidFill>
                <a:schemeClr val="tx2"/>
              </a:solidFill>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ED1D304D-9B23-41CD-9222-A676AD6DDB9F}"/>
              </a:ext>
            </a:extLst>
          </p:cNvPr>
          <p:cNvSpPr/>
          <p:nvPr/>
        </p:nvSpPr>
        <p:spPr>
          <a:xfrm>
            <a:off x="180000" y="224634"/>
            <a:ext cx="4574880" cy="8297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Image 18" descr="Une image contenant extérieur, terrain, blanc, roche&#10;&#10;Description générée automatiquement">
            <a:extLst>
              <a:ext uri="{FF2B5EF4-FFF2-40B4-BE49-F238E27FC236}">
                <a16:creationId xmlns:a16="http://schemas.microsoft.com/office/drawing/2014/main" id="{A0F2199A-E7AE-437E-8848-04DAFEA416C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111750" y="-19880"/>
            <a:ext cx="4032250" cy="6877880"/>
          </a:xfrm>
          <a:prstGeom prst="rect">
            <a:avLst/>
          </a:prstGeom>
        </p:spPr>
      </p:pic>
      <p:sp>
        <p:nvSpPr>
          <p:cNvPr id="9" name="TextBox 25">
            <a:extLst>
              <a:ext uri="{FF2B5EF4-FFF2-40B4-BE49-F238E27FC236}">
                <a16:creationId xmlns:a16="http://schemas.microsoft.com/office/drawing/2014/main" id="{A648C0A3-B202-46B7-9D28-C3C116EDC9B6}"/>
              </a:ext>
            </a:extLst>
          </p:cNvPr>
          <p:cNvSpPr txBox="1"/>
          <p:nvPr/>
        </p:nvSpPr>
        <p:spPr>
          <a:xfrm>
            <a:off x="539550" y="817843"/>
            <a:ext cx="4987551" cy="584775"/>
          </a:xfrm>
          <a:prstGeom prst="rect">
            <a:avLst/>
          </a:prstGeom>
          <a:noFill/>
        </p:spPr>
        <p:txBody>
          <a:bodyPr wrap="square" lIns="0" rIns="0" rtlCol="0">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IN" sz="3200" b="1" dirty="0">
                <a:solidFill>
                  <a:srgbClr val="1B9D91"/>
                </a:solidFill>
                <a:latin typeface="Open Sans" panose="020B0606030504020204" pitchFamily="34" charset="0"/>
                <a:ea typeface="Open Sans" panose="020B0606030504020204" pitchFamily="34" charset="0"/>
                <a:cs typeface="Open Sans" panose="020B0606030504020204" pitchFamily="34" charset="0"/>
              </a:rPr>
              <a:t>Notre Mission</a:t>
            </a:r>
          </a:p>
        </p:txBody>
      </p:sp>
    </p:spTree>
    <p:extLst>
      <p:ext uri="{BB962C8B-B14F-4D97-AF65-F5344CB8AC3E}">
        <p14:creationId xmlns:p14="http://schemas.microsoft.com/office/powerpoint/2010/main" val="18165871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t 40" hidden="1">
            <a:extLst>
              <a:ext uri="{FF2B5EF4-FFF2-40B4-BE49-F238E27FC236}">
                <a16:creationId xmlns:a16="http://schemas.microsoft.com/office/drawing/2014/main" id="{30132FCA-02D6-46DD-9D60-B16744E4A101}"/>
              </a:ext>
            </a:extLst>
          </p:cNvPr>
          <p:cNvGraphicFramePr>
            <a:graphicFrameLocks noChangeAspect="1"/>
          </p:cNvGraphicFramePr>
          <p:nvPr>
            <p:custDataLst>
              <p:tags r:id="rId2"/>
            </p:custDataLst>
            <p:extLst>
              <p:ext uri="{D42A27DB-BD31-4B8C-83A1-F6EECF244321}">
                <p14:modId xmlns:p14="http://schemas.microsoft.com/office/powerpoint/2010/main" val="669823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Diapositive think-cell" r:id="rId7" imgW="395" imgH="396" progId="TCLayout.ActiveDocument.1">
                  <p:embed/>
                </p:oleObj>
              </mc:Choice>
              <mc:Fallback>
                <p:oleObj name="Diapositive think-cell" r:id="rId7" imgW="395" imgH="396" progId="TCLayout.ActiveDocument.1">
                  <p:embed/>
                  <p:pic>
                    <p:nvPicPr>
                      <p:cNvPr id="41" name="Objet 40" hidden="1">
                        <a:extLst>
                          <a:ext uri="{FF2B5EF4-FFF2-40B4-BE49-F238E27FC236}">
                            <a16:creationId xmlns:a16="http://schemas.microsoft.com/office/drawing/2014/main" id="{30132FCA-02D6-46DD-9D60-B16744E4A10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5320389-07AB-4831-A060-2A224AF418F4}"/>
              </a:ext>
            </a:extLst>
          </p:cNvPr>
          <p:cNvSpPr>
            <a:spLocks noGrp="1"/>
          </p:cNvSpPr>
          <p:nvPr>
            <p:ph type="title"/>
          </p:nvPr>
        </p:nvSpPr>
        <p:spPr/>
        <p:txBody>
          <a:bodyPr vert="horz"/>
          <a:lstStyle/>
          <a:p>
            <a:r>
              <a:rPr lang="fr-FR" dirty="0"/>
              <a:t>Notre raison d’être : Être une solution aux défis actuels et futurs de la filière titane</a:t>
            </a:r>
          </a:p>
        </p:txBody>
      </p:sp>
      <p:sp>
        <p:nvSpPr>
          <p:cNvPr id="4" name="Espace réservé du texte 3">
            <a:extLst>
              <a:ext uri="{FF2B5EF4-FFF2-40B4-BE49-F238E27FC236}">
                <a16:creationId xmlns:a16="http://schemas.microsoft.com/office/drawing/2014/main" id="{B17D112C-4C4A-445A-9723-68C3B8F2AC29}"/>
              </a:ext>
            </a:extLst>
          </p:cNvPr>
          <p:cNvSpPr>
            <a:spLocks noGrp="1"/>
          </p:cNvSpPr>
          <p:nvPr>
            <p:ph type="body" sz="quarter" idx="13"/>
          </p:nvPr>
        </p:nvSpPr>
        <p:spPr/>
        <p:txBody>
          <a:bodyPr/>
          <a:lstStyle/>
          <a:p>
            <a:r>
              <a:rPr lang="fr-FR" dirty="0"/>
              <a:t>*Comité pour les métaux stratégiques (COMES) / 2020 </a:t>
            </a:r>
            <a:r>
              <a:rPr lang="fr-FR" dirty="0" err="1"/>
              <a:t>critical</a:t>
            </a:r>
            <a:r>
              <a:rPr lang="fr-FR" dirty="0"/>
              <a:t> </a:t>
            </a:r>
            <a:r>
              <a:rPr lang="fr-FR" dirty="0" err="1"/>
              <a:t>raw</a:t>
            </a:r>
            <a:r>
              <a:rPr lang="fr-FR" dirty="0"/>
              <a:t> </a:t>
            </a:r>
            <a:r>
              <a:rPr lang="fr-FR" dirty="0" err="1"/>
              <a:t>materials</a:t>
            </a:r>
            <a:r>
              <a:rPr lang="fr-FR" dirty="0"/>
              <a:t> </a:t>
            </a:r>
            <a:r>
              <a:rPr lang="fr-FR" dirty="0" err="1"/>
              <a:t>list</a:t>
            </a:r>
            <a:r>
              <a:rPr lang="fr-FR" dirty="0"/>
              <a:t>, EU</a:t>
            </a:r>
          </a:p>
        </p:txBody>
      </p:sp>
      <p:sp>
        <p:nvSpPr>
          <p:cNvPr id="5" name="Espace réservé de la date 4">
            <a:extLst>
              <a:ext uri="{FF2B5EF4-FFF2-40B4-BE49-F238E27FC236}">
                <a16:creationId xmlns:a16="http://schemas.microsoft.com/office/drawing/2014/main" id="{E1DB9ED6-9B22-4D46-B88C-866A2361B8F8}"/>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E1BFEC8B-ECB7-4ADB-AE70-8A82D350B03F}"/>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991FD68A-1620-4226-B404-3E171C2A9DCD}"/>
              </a:ext>
            </a:extLst>
          </p:cNvPr>
          <p:cNvSpPr>
            <a:spLocks noGrp="1"/>
          </p:cNvSpPr>
          <p:nvPr>
            <p:ph type="sldNum" sz="quarter" idx="16"/>
          </p:nvPr>
        </p:nvSpPr>
        <p:spPr/>
        <p:txBody>
          <a:bodyPr/>
          <a:lstStyle/>
          <a:p>
            <a:fld id="{733122C9-A0B9-462F-8757-0847AD287B63}" type="slidenum">
              <a:rPr lang="fr-FR" smtClean="0"/>
              <a:pPr/>
              <a:t>7</a:t>
            </a:fld>
            <a:endParaRPr lang="fr-FR" dirty="0"/>
          </a:p>
        </p:txBody>
      </p:sp>
      <p:sp>
        <p:nvSpPr>
          <p:cNvPr id="15" name="Rectangle 14">
            <a:extLst>
              <a:ext uri="{FF2B5EF4-FFF2-40B4-BE49-F238E27FC236}">
                <a16:creationId xmlns:a16="http://schemas.microsoft.com/office/drawing/2014/main" id="{378CC25B-D943-424B-ABCE-532A79F5671B}"/>
              </a:ext>
            </a:extLst>
          </p:cNvPr>
          <p:cNvSpPr/>
          <p:nvPr/>
        </p:nvSpPr>
        <p:spPr>
          <a:xfrm>
            <a:off x="151426" y="1406392"/>
            <a:ext cx="2880000" cy="2060553"/>
          </a:xfrm>
          <a:prstGeom prst="rect">
            <a:avLst/>
          </a:prstGeom>
          <a:solidFill>
            <a:srgbClr val="1BAE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913D6E8F-66C6-4901-9AF1-79E01395CB64}"/>
              </a:ext>
            </a:extLst>
          </p:cNvPr>
          <p:cNvSpPr/>
          <p:nvPr/>
        </p:nvSpPr>
        <p:spPr>
          <a:xfrm>
            <a:off x="3125163" y="1406392"/>
            <a:ext cx="2880000" cy="2060553"/>
          </a:xfrm>
          <a:prstGeom prst="rect">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5E50A67-67DF-47E5-B8D4-36D574511DF7}"/>
              </a:ext>
            </a:extLst>
          </p:cNvPr>
          <p:cNvSpPr/>
          <p:nvPr/>
        </p:nvSpPr>
        <p:spPr>
          <a:xfrm>
            <a:off x="151426" y="3687557"/>
            <a:ext cx="2880000" cy="2060553"/>
          </a:xfrm>
          <a:prstGeom prst="rect">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2D7B825-4991-43A7-A111-032CC0533BAC}"/>
              </a:ext>
            </a:extLst>
          </p:cNvPr>
          <p:cNvSpPr/>
          <p:nvPr/>
        </p:nvSpPr>
        <p:spPr>
          <a:xfrm>
            <a:off x="3125163" y="3687557"/>
            <a:ext cx="2880000" cy="2060553"/>
          </a:xfrm>
          <a:prstGeom prst="rect">
            <a:avLst/>
          </a:prstGeom>
          <a:solidFill>
            <a:srgbClr val="1BAE8F"/>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Subtitle 6">
            <a:extLst>
              <a:ext uri="{FF2B5EF4-FFF2-40B4-BE49-F238E27FC236}">
                <a16:creationId xmlns:a16="http://schemas.microsoft.com/office/drawing/2014/main" id="{CD19E0FF-2BAA-4675-8DFC-0C0895E9B667}"/>
              </a:ext>
            </a:extLst>
          </p:cNvPr>
          <p:cNvSpPr txBox="1">
            <a:spLocks/>
          </p:cNvSpPr>
          <p:nvPr/>
        </p:nvSpPr>
        <p:spPr>
          <a:xfrm>
            <a:off x="3149999" y="2281462"/>
            <a:ext cx="2677456" cy="1076001"/>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tx2"/>
                </a:solidFill>
                <a:latin typeface="+mn-lt"/>
              </a:rPr>
              <a:t>Demande croissante portée par l’aéronautique, la défense et l’industrie</a:t>
            </a:r>
          </a:p>
        </p:txBody>
      </p:sp>
      <p:sp>
        <p:nvSpPr>
          <p:cNvPr id="28" name="Subtitle 6">
            <a:extLst>
              <a:ext uri="{FF2B5EF4-FFF2-40B4-BE49-F238E27FC236}">
                <a16:creationId xmlns:a16="http://schemas.microsoft.com/office/drawing/2014/main" id="{19414F75-7C3E-4CF9-98A5-2D50481F0234}"/>
              </a:ext>
            </a:extLst>
          </p:cNvPr>
          <p:cNvSpPr txBox="1">
            <a:spLocks/>
          </p:cNvSpPr>
          <p:nvPr/>
        </p:nvSpPr>
        <p:spPr>
          <a:xfrm>
            <a:off x="398714" y="2438535"/>
            <a:ext cx="2385425" cy="761855"/>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bg1"/>
                </a:solidFill>
                <a:latin typeface="+mn-lt"/>
              </a:rPr>
              <a:t>Matériau classifié comme stratégique*</a:t>
            </a:r>
          </a:p>
        </p:txBody>
      </p:sp>
      <p:sp>
        <p:nvSpPr>
          <p:cNvPr id="31" name="Subtitle 6">
            <a:extLst>
              <a:ext uri="{FF2B5EF4-FFF2-40B4-BE49-F238E27FC236}">
                <a16:creationId xmlns:a16="http://schemas.microsoft.com/office/drawing/2014/main" id="{8FF8ED5F-A092-42A6-8DB3-5C4140BA563E}"/>
              </a:ext>
            </a:extLst>
          </p:cNvPr>
          <p:cNvSpPr txBox="1">
            <a:spLocks/>
          </p:cNvSpPr>
          <p:nvPr/>
        </p:nvSpPr>
        <p:spPr>
          <a:xfrm>
            <a:off x="3027178" y="4413195"/>
            <a:ext cx="2977985" cy="1158930"/>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bg1"/>
                </a:solidFill>
                <a:latin typeface="+mn-lt"/>
              </a:rPr>
              <a:t>Rendement matière faible avec une génération importante de matières réversibles (70% à 90%)</a:t>
            </a:r>
          </a:p>
        </p:txBody>
      </p:sp>
      <p:sp>
        <p:nvSpPr>
          <p:cNvPr id="34" name="Subtitle 6">
            <a:extLst>
              <a:ext uri="{FF2B5EF4-FFF2-40B4-BE49-F238E27FC236}">
                <a16:creationId xmlns:a16="http://schemas.microsoft.com/office/drawing/2014/main" id="{B96E997C-F520-4B96-8445-271E96D31B24}"/>
              </a:ext>
            </a:extLst>
          </p:cNvPr>
          <p:cNvSpPr txBox="1">
            <a:spLocks/>
          </p:cNvSpPr>
          <p:nvPr/>
        </p:nvSpPr>
        <p:spPr>
          <a:xfrm>
            <a:off x="222272" y="4465145"/>
            <a:ext cx="2758038" cy="1055030"/>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tx2"/>
                </a:solidFill>
                <a:latin typeface="+mn-lt"/>
              </a:rPr>
              <a:t>Europe : Parmi les 1</a:t>
            </a:r>
            <a:r>
              <a:rPr lang="fr-FR" sz="1800" baseline="30000" dirty="0">
                <a:solidFill>
                  <a:schemeClr val="tx2"/>
                </a:solidFill>
                <a:latin typeface="+mn-lt"/>
              </a:rPr>
              <a:t>er</a:t>
            </a:r>
            <a:r>
              <a:rPr lang="fr-FR" sz="1800" dirty="0">
                <a:solidFill>
                  <a:schemeClr val="tx2"/>
                </a:solidFill>
                <a:latin typeface="+mn-lt"/>
              </a:rPr>
              <a:t> générateurs de matières réversibles et 1</a:t>
            </a:r>
            <a:r>
              <a:rPr lang="fr-FR" sz="1800" baseline="30000" dirty="0">
                <a:solidFill>
                  <a:schemeClr val="tx2"/>
                </a:solidFill>
                <a:latin typeface="+mn-lt"/>
              </a:rPr>
              <a:t>er</a:t>
            </a:r>
            <a:r>
              <a:rPr lang="fr-FR" sz="1800" dirty="0">
                <a:solidFill>
                  <a:schemeClr val="tx2"/>
                </a:solidFill>
                <a:latin typeface="+mn-lt"/>
              </a:rPr>
              <a:t> exportateur vers les US</a:t>
            </a:r>
          </a:p>
        </p:txBody>
      </p:sp>
      <p:sp>
        <p:nvSpPr>
          <p:cNvPr id="35" name="Rectangle 34">
            <a:extLst>
              <a:ext uri="{FF2B5EF4-FFF2-40B4-BE49-F238E27FC236}">
                <a16:creationId xmlns:a16="http://schemas.microsoft.com/office/drawing/2014/main" id="{3835BC92-C714-4ED1-809A-737A97F94206}"/>
              </a:ext>
            </a:extLst>
          </p:cNvPr>
          <p:cNvSpPr/>
          <p:nvPr/>
        </p:nvSpPr>
        <p:spPr>
          <a:xfrm>
            <a:off x="6098900" y="1406392"/>
            <a:ext cx="2880000" cy="2060553"/>
          </a:xfrm>
          <a:prstGeom prst="rect">
            <a:avLst/>
          </a:prstGeom>
          <a:solidFill>
            <a:srgbClr val="1BAE8F"/>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1A021749-F96A-4747-9F13-80524E999765}"/>
              </a:ext>
            </a:extLst>
          </p:cNvPr>
          <p:cNvSpPr/>
          <p:nvPr/>
        </p:nvSpPr>
        <p:spPr>
          <a:xfrm>
            <a:off x="6054875" y="3687557"/>
            <a:ext cx="2880000" cy="2060553"/>
          </a:xfrm>
          <a:prstGeom prst="rect">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Subtitle 6">
            <a:extLst>
              <a:ext uri="{FF2B5EF4-FFF2-40B4-BE49-F238E27FC236}">
                <a16:creationId xmlns:a16="http://schemas.microsoft.com/office/drawing/2014/main" id="{ED844769-56C9-4CA4-9B6C-2B0F4D94AAB6}"/>
              </a:ext>
            </a:extLst>
          </p:cNvPr>
          <p:cNvSpPr txBox="1">
            <a:spLocks/>
          </p:cNvSpPr>
          <p:nvPr/>
        </p:nvSpPr>
        <p:spPr>
          <a:xfrm>
            <a:off x="6439267" y="2438535"/>
            <a:ext cx="2385425" cy="761855"/>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bg1"/>
                </a:solidFill>
                <a:latin typeface="+mn-lt"/>
              </a:rPr>
              <a:t>Soumis aux tensions géopolitiques</a:t>
            </a:r>
          </a:p>
        </p:txBody>
      </p:sp>
      <p:sp>
        <p:nvSpPr>
          <p:cNvPr id="40" name="Subtitle 6">
            <a:extLst>
              <a:ext uri="{FF2B5EF4-FFF2-40B4-BE49-F238E27FC236}">
                <a16:creationId xmlns:a16="http://schemas.microsoft.com/office/drawing/2014/main" id="{8CE142CD-1EB2-4FCB-AD2A-6869095BDC75}"/>
              </a:ext>
            </a:extLst>
          </p:cNvPr>
          <p:cNvSpPr txBox="1">
            <a:spLocks/>
          </p:cNvSpPr>
          <p:nvPr/>
        </p:nvSpPr>
        <p:spPr>
          <a:xfrm>
            <a:off x="6439266" y="4611733"/>
            <a:ext cx="2385425" cy="761855"/>
          </a:xfrm>
          <a:prstGeom prst="rect">
            <a:avLst/>
          </a:prstGeom>
        </p:spPr>
        <p:txBody>
          <a:bodyPr vert="horz" lIns="91440" tIns="45720" rIns="91440" bIns="45720" numCol="1" spcCol="365760" rtlCol="0" anchor="ctr">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tx2"/>
                </a:solidFill>
                <a:latin typeface="+mn-lt"/>
              </a:rPr>
              <a:t>Prix du marché fluctuant</a:t>
            </a:r>
          </a:p>
        </p:txBody>
      </p:sp>
      <p:sp>
        <p:nvSpPr>
          <p:cNvPr id="49" name="Growth4" descr="{&quot;Key&quot;:&quot;POWER_USER_SHAPE_ICON&quot;,&quot;Value&quot;:&quot;POWER_USER_SHAPE_ICON_STYLE_1&quot;}">
            <a:extLst>
              <a:ext uri="{FF2B5EF4-FFF2-40B4-BE49-F238E27FC236}">
                <a16:creationId xmlns:a16="http://schemas.microsoft.com/office/drawing/2014/main" id="{B40172D0-222F-4399-9AEB-9200C3B914A1}"/>
              </a:ext>
            </a:extLst>
          </p:cNvPr>
          <p:cNvSpPr>
            <a:spLocks noChangeAspect="1" noEditPoints="1"/>
          </p:cNvSpPr>
          <p:nvPr/>
        </p:nvSpPr>
        <p:spPr bwMode="auto">
          <a:xfrm>
            <a:off x="4289426" y="1509036"/>
            <a:ext cx="584559" cy="586016"/>
          </a:xfrm>
          <a:custGeom>
            <a:avLst/>
            <a:gdLst>
              <a:gd name="T0" fmla="*/ 856 w 1067"/>
              <a:gd name="T1" fmla="*/ 921 h 1068"/>
              <a:gd name="T2" fmla="*/ 617 w 1067"/>
              <a:gd name="T3" fmla="*/ 1031 h 1068"/>
              <a:gd name="T4" fmla="*/ 234 w 1067"/>
              <a:gd name="T5" fmla="*/ 923 h 1068"/>
              <a:gd name="T6" fmla="*/ 163 w 1067"/>
              <a:gd name="T7" fmla="*/ 723 h 1068"/>
              <a:gd name="T8" fmla="*/ 251 w 1067"/>
              <a:gd name="T9" fmla="*/ 722 h 1068"/>
              <a:gd name="T10" fmla="*/ 587 w 1067"/>
              <a:gd name="T11" fmla="*/ 773 h 1068"/>
              <a:gd name="T12" fmla="*/ 817 w 1067"/>
              <a:gd name="T13" fmla="*/ 799 h 1068"/>
              <a:gd name="T14" fmla="*/ 788 w 1067"/>
              <a:gd name="T15" fmla="*/ 841 h 1068"/>
              <a:gd name="T16" fmla="*/ 618 w 1067"/>
              <a:gd name="T17" fmla="*/ 866 h 1068"/>
              <a:gd name="T18" fmla="*/ 508 w 1067"/>
              <a:gd name="T19" fmla="*/ 860 h 1068"/>
              <a:gd name="T20" fmla="*/ 612 w 1067"/>
              <a:gd name="T21" fmla="*/ 899 h 1068"/>
              <a:gd name="T22" fmla="*/ 655 w 1067"/>
              <a:gd name="T23" fmla="*/ 899 h 1068"/>
              <a:gd name="T24" fmla="*/ 835 w 1067"/>
              <a:gd name="T25" fmla="*/ 850 h 1068"/>
              <a:gd name="T26" fmla="*/ 935 w 1067"/>
              <a:gd name="T27" fmla="*/ 747 h 1068"/>
              <a:gd name="T28" fmla="*/ 876 w 1067"/>
              <a:gd name="T29" fmla="*/ 906 h 1068"/>
              <a:gd name="T30" fmla="*/ 34 w 1067"/>
              <a:gd name="T31" fmla="*/ 978 h 1068"/>
              <a:gd name="T32" fmla="*/ 130 w 1067"/>
              <a:gd name="T33" fmla="*/ 673 h 1068"/>
              <a:gd name="T34" fmla="*/ 354 w 1067"/>
              <a:gd name="T35" fmla="*/ 497 h 1068"/>
              <a:gd name="T36" fmla="*/ 437 w 1067"/>
              <a:gd name="T37" fmla="*/ 676 h 1068"/>
              <a:gd name="T38" fmla="*/ 354 w 1067"/>
              <a:gd name="T39" fmla="*/ 497 h 1068"/>
              <a:gd name="T40" fmla="*/ 786 w 1067"/>
              <a:gd name="T41" fmla="*/ 297 h 1068"/>
              <a:gd name="T42" fmla="*/ 771 w 1067"/>
              <a:gd name="T43" fmla="*/ 737 h 1068"/>
              <a:gd name="T44" fmla="*/ 703 w 1067"/>
              <a:gd name="T45" fmla="*/ 380 h 1068"/>
              <a:gd name="T46" fmla="*/ 669 w 1067"/>
              <a:gd name="T47" fmla="*/ 380 h 1068"/>
              <a:gd name="T48" fmla="*/ 592 w 1067"/>
              <a:gd name="T49" fmla="*/ 740 h 1068"/>
              <a:gd name="T50" fmla="*/ 586 w 1067"/>
              <a:gd name="T51" fmla="*/ 297 h 1068"/>
              <a:gd name="T52" fmla="*/ 470 w 1067"/>
              <a:gd name="T53" fmla="*/ 683 h 1068"/>
              <a:gd name="T54" fmla="*/ 553 w 1067"/>
              <a:gd name="T55" fmla="*/ 297 h 1068"/>
              <a:gd name="T56" fmla="*/ 902 w 1067"/>
              <a:gd name="T57" fmla="*/ 731 h 1068"/>
              <a:gd name="T58" fmla="*/ 819 w 1067"/>
              <a:gd name="T59" fmla="*/ 749 h 1068"/>
              <a:gd name="T60" fmla="*/ 902 w 1067"/>
              <a:gd name="T61" fmla="*/ 181 h 1068"/>
              <a:gd name="T62" fmla="*/ 1063 w 1067"/>
              <a:gd name="T63" fmla="*/ 727 h 1068"/>
              <a:gd name="T64" fmla="*/ 935 w 1067"/>
              <a:gd name="T65" fmla="*/ 708 h 1068"/>
              <a:gd name="T66" fmla="*/ 1012 w 1067"/>
              <a:gd name="T67" fmla="*/ 71 h 1068"/>
              <a:gd name="T68" fmla="*/ 1010 w 1067"/>
              <a:gd name="T69" fmla="*/ 151 h 1068"/>
              <a:gd name="T70" fmla="*/ 1030 w 1067"/>
              <a:gd name="T71" fmla="*/ 139 h 1068"/>
              <a:gd name="T72" fmla="*/ 1053 w 1067"/>
              <a:gd name="T73" fmla="*/ 6 h 1068"/>
              <a:gd name="T74" fmla="*/ 924 w 1067"/>
              <a:gd name="T75" fmla="*/ 33 h 1068"/>
              <a:gd name="T76" fmla="*/ 932 w 1067"/>
              <a:gd name="T77" fmla="*/ 65 h 1068"/>
              <a:gd name="T78" fmla="*/ 686 w 1067"/>
              <a:gd name="T79" fmla="*/ 350 h 1068"/>
              <a:gd name="T80" fmla="*/ 570 w 1067"/>
              <a:gd name="T81" fmla="*/ 240 h 1068"/>
              <a:gd name="T82" fmla="*/ 442 w 1067"/>
              <a:gd name="T83" fmla="*/ 362 h 1068"/>
              <a:gd name="T84" fmla="*/ 224 w 1067"/>
              <a:gd name="T85" fmla="*/ 579 h 1068"/>
              <a:gd name="T86" fmla="*/ 236 w 1067"/>
              <a:gd name="T87" fmla="*/ 608 h 1068"/>
              <a:gd name="T88" fmla="*/ 321 w 1067"/>
              <a:gd name="T89" fmla="*/ 530 h 1068"/>
              <a:gd name="T90" fmla="*/ 242 w 1067"/>
              <a:gd name="T91" fmla="*/ 690 h 1068"/>
              <a:gd name="T92" fmla="*/ 163 w 1067"/>
              <a:gd name="T93" fmla="*/ 656 h 1068"/>
              <a:gd name="T94" fmla="*/ 17 w 1067"/>
              <a:gd name="T95" fmla="*/ 640 h 1068"/>
              <a:gd name="T96" fmla="*/ 0 w 1067"/>
              <a:gd name="T97" fmla="*/ 995 h 1068"/>
              <a:gd name="T98" fmla="*/ 147 w 1067"/>
              <a:gd name="T99" fmla="*/ 1012 h 1068"/>
              <a:gd name="T100" fmla="*/ 163 w 1067"/>
              <a:gd name="T101" fmla="*/ 956 h 1068"/>
              <a:gd name="T102" fmla="*/ 608 w 1067"/>
              <a:gd name="T103" fmla="*/ 1063 h 1068"/>
              <a:gd name="T104" fmla="*/ 682 w 1067"/>
              <a:gd name="T105" fmla="*/ 1062 h 1068"/>
              <a:gd name="T106" fmla="*/ 873 w 1067"/>
              <a:gd name="T107" fmla="*/ 950 h 1068"/>
              <a:gd name="T108" fmla="*/ 1062 w 1067"/>
              <a:gd name="T109" fmla="*/ 750 h 1068"/>
              <a:gd name="T110" fmla="*/ 1063 w 1067"/>
              <a:gd name="T111" fmla="*/ 727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67" h="1068">
                <a:moveTo>
                  <a:pt x="876" y="906"/>
                </a:moveTo>
                <a:cubicBezTo>
                  <a:pt x="870" y="912"/>
                  <a:pt x="863" y="917"/>
                  <a:pt x="856" y="921"/>
                </a:cubicBezTo>
                <a:cubicBezTo>
                  <a:pt x="775" y="968"/>
                  <a:pt x="684" y="1023"/>
                  <a:pt x="670" y="1031"/>
                </a:cubicBezTo>
                <a:cubicBezTo>
                  <a:pt x="653" y="1036"/>
                  <a:pt x="635" y="1036"/>
                  <a:pt x="617" y="1031"/>
                </a:cubicBezTo>
                <a:lnTo>
                  <a:pt x="239" y="924"/>
                </a:lnTo>
                <a:cubicBezTo>
                  <a:pt x="237" y="923"/>
                  <a:pt x="236" y="923"/>
                  <a:pt x="234" y="923"/>
                </a:cubicBezTo>
                <a:lnTo>
                  <a:pt x="163" y="923"/>
                </a:lnTo>
                <a:lnTo>
                  <a:pt x="163" y="723"/>
                </a:lnTo>
                <a:lnTo>
                  <a:pt x="245" y="723"/>
                </a:lnTo>
                <a:cubicBezTo>
                  <a:pt x="247" y="723"/>
                  <a:pt x="249" y="723"/>
                  <a:pt x="251" y="722"/>
                </a:cubicBezTo>
                <a:cubicBezTo>
                  <a:pt x="252" y="721"/>
                  <a:pt x="418" y="658"/>
                  <a:pt x="578" y="770"/>
                </a:cubicBezTo>
                <a:cubicBezTo>
                  <a:pt x="581" y="772"/>
                  <a:pt x="584" y="773"/>
                  <a:pt x="587" y="773"/>
                </a:cubicBezTo>
                <a:lnTo>
                  <a:pt x="771" y="770"/>
                </a:lnTo>
                <a:cubicBezTo>
                  <a:pt x="790" y="771"/>
                  <a:pt x="813" y="776"/>
                  <a:pt x="817" y="799"/>
                </a:cubicBezTo>
                <a:cubicBezTo>
                  <a:pt x="819" y="810"/>
                  <a:pt x="816" y="820"/>
                  <a:pt x="809" y="829"/>
                </a:cubicBezTo>
                <a:cubicBezTo>
                  <a:pt x="804" y="835"/>
                  <a:pt x="796" y="839"/>
                  <a:pt x="788" y="841"/>
                </a:cubicBezTo>
                <a:lnTo>
                  <a:pt x="649" y="866"/>
                </a:lnTo>
                <a:cubicBezTo>
                  <a:pt x="639" y="868"/>
                  <a:pt x="628" y="868"/>
                  <a:pt x="618" y="866"/>
                </a:cubicBezTo>
                <a:lnTo>
                  <a:pt x="527" y="847"/>
                </a:lnTo>
                <a:cubicBezTo>
                  <a:pt x="518" y="845"/>
                  <a:pt x="510" y="851"/>
                  <a:pt x="508" y="860"/>
                </a:cubicBezTo>
                <a:cubicBezTo>
                  <a:pt x="506" y="869"/>
                  <a:pt x="512" y="878"/>
                  <a:pt x="521" y="880"/>
                </a:cubicBezTo>
                <a:lnTo>
                  <a:pt x="612" y="899"/>
                </a:lnTo>
                <a:cubicBezTo>
                  <a:pt x="619" y="900"/>
                  <a:pt x="627" y="901"/>
                  <a:pt x="635" y="901"/>
                </a:cubicBezTo>
                <a:cubicBezTo>
                  <a:pt x="641" y="901"/>
                  <a:pt x="648" y="900"/>
                  <a:pt x="655" y="899"/>
                </a:cubicBezTo>
                <a:lnTo>
                  <a:pt x="794" y="874"/>
                </a:lnTo>
                <a:cubicBezTo>
                  <a:pt x="810" y="871"/>
                  <a:pt x="825" y="862"/>
                  <a:pt x="835" y="850"/>
                </a:cubicBezTo>
                <a:cubicBezTo>
                  <a:pt x="842" y="840"/>
                  <a:pt x="847" y="829"/>
                  <a:pt x="849" y="818"/>
                </a:cubicBezTo>
                <a:lnTo>
                  <a:pt x="935" y="747"/>
                </a:lnTo>
                <a:cubicBezTo>
                  <a:pt x="961" y="726"/>
                  <a:pt x="999" y="723"/>
                  <a:pt x="1026" y="740"/>
                </a:cubicBezTo>
                <a:lnTo>
                  <a:pt x="876" y="906"/>
                </a:lnTo>
                <a:close/>
                <a:moveTo>
                  <a:pt x="130" y="978"/>
                </a:moveTo>
                <a:lnTo>
                  <a:pt x="34" y="978"/>
                </a:lnTo>
                <a:lnTo>
                  <a:pt x="34" y="673"/>
                </a:lnTo>
                <a:lnTo>
                  <a:pt x="130" y="673"/>
                </a:lnTo>
                <a:lnTo>
                  <a:pt x="130" y="978"/>
                </a:lnTo>
                <a:close/>
                <a:moveTo>
                  <a:pt x="354" y="497"/>
                </a:moveTo>
                <a:lnTo>
                  <a:pt x="437" y="414"/>
                </a:lnTo>
                <a:lnTo>
                  <a:pt x="437" y="676"/>
                </a:lnTo>
                <a:cubicBezTo>
                  <a:pt x="407" y="671"/>
                  <a:pt x="379" y="669"/>
                  <a:pt x="354" y="670"/>
                </a:cubicBezTo>
                <a:lnTo>
                  <a:pt x="354" y="497"/>
                </a:lnTo>
                <a:close/>
                <a:moveTo>
                  <a:pt x="703" y="380"/>
                </a:moveTo>
                <a:lnTo>
                  <a:pt x="786" y="297"/>
                </a:lnTo>
                <a:lnTo>
                  <a:pt x="786" y="738"/>
                </a:lnTo>
                <a:cubicBezTo>
                  <a:pt x="781" y="738"/>
                  <a:pt x="776" y="737"/>
                  <a:pt x="771" y="737"/>
                </a:cubicBezTo>
                <a:lnTo>
                  <a:pt x="703" y="738"/>
                </a:lnTo>
                <a:lnTo>
                  <a:pt x="703" y="380"/>
                </a:lnTo>
                <a:close/>
                <a:moveTo>
                  <a:pt x="586" y="297"/>
                </a:moveTo>
                <a:lnTo>
                  <a:pt x="669" y="380"/>
                </a:lnTo>
                <a:lnTo>
                  <a:pt x="669" y="739"/>
                </a:lnTo>
                <a:lnTo>
                  <a:pt x="592" y="740"/>
                </a:lnTo>
                <a:cubicBezTo>
                  <a:pt x="590" y="739"/>
                  <a:pt x="588" y="737"/>
                  <a:pt x="586" y="736"/>
                </a:cubicBezTo>
                <a:lnTo>
                  <a:pt x="586" y="297"/>
                </a:lnTo>
                <a:close/>
                <a:moveTo>
                  <a:pt x="553" y="716"/>
                </a:moveTo>
                <a:cubicBezTo>
                  <a:pt x="525" y="701"/>
                  <a:pt x="497" y="691"/>
                  <a:pt x="470" y="683"/>
                </a:cubicBezTo>
                <a:lnTo>
                  <a:pt x="470" y="380"/>
                </a:lnTo>
                <a:lnTo>
                  <a:pt x="553" y="297"/>
                </a:lnTo>
                <a:lnTo>
                  <a:pt x="553" y="716"/>
                </a:lnTo>
                <a:close/>
                <a:moveTo>
                  <a:pt x="902" y="731"/>
                </a:moveTo>
                <a:lnTo>
                  <a:pt x="845" y="778"/>
                </a:lnTo>
                <a:cubicBezTo>
                  <a:pt x="840" y="766"/>
                  <a:pt x="831" y="756"/>
                  <a:pt x="819" y="749"/>
                </a:cubicBezTo>
                <a:lnTo>
                  <a:pt x="819" y="264"/>
                </a:lnTo>
                <a:lnTo>
                  <a:pt x="902" y="181"/>
                </a:lnTo>
                <a:lnTo>
                  <a:pt x="902" y="731"/>
                </a:lnTo>
                <a:close/>
                <a:moveTo>
                  <a:pt x="1063" y="727"/>
                </a:moveTo>
                <a:cubicBezTo>
                  <a:pt x="1062" y="726"/>
                  <a:pt x="1058" y="722"/>
                  <a:pt x="1051" y="717"/>
                </a:cubicBezTo>
                <a:cubicBezTo>
                  <a:pt x="1017" y="692"/>
                  <a:pt x="973" y="689"/>
                  <a:pt x="935" y="708"/>
                </a:cubicBezTo>
                <a:lnTo>
                  <a:pt x="935" y="148"/>
                </a:lnTo>
                <a:lnTo>
                  <a:pt x="1012" y="71"/>
                </a:lnTo>
                <a:lnTo>
                  <a:pt x="997" y="131"/>
                </a:lnTo>
                <a:cubicBezTo>
                  <a:pt x="995" y="140"/>
                  <a:pt x="1001" y="149"/>
                  <a:pt x="1010" y="151"/>
                </a:cubicBezTo>
                <a:cubicBezTo>
                  <a:pt x="1011" y="151"/>
                  <a:pt x="1012" y="152"/>
                  <a:pt x="1014" y="152"/>
                </a:cubicBezTo>
                <a:cubicBezTo>
                  <a:pt x="1021" y="152"/>
                  <a:pt x="1028" y="146"/>
                  <a:pt x="1030" y="139"/>
                </a:cubicBezTo>
                <a:lnTo>
                  <a:pt x="1058" y="22"/>
                </a:lnTo>
                <a:cubicBezTo>
                  <a:pt x="1059" y="16"/>
                  <a:pt x="1057" y="10"/>
                  <a:pt x="1053" y="6"/>
                </a:cubicBezTo>
                <a:cubicBezTo>
                  <a:pt x="1049" y="2"/>
                  <a:pt x="1043" y="0"/>
                  <a:pt x="1037" y="2"/>
                </a:cubicBezTo>
                <a:lnTo>
                  <a:pt x="924" y="33"/>
                </a:lnTo>
                <a:cubicBezTo>
                  <a:pt x="915" y="36"/>
                  <a:pt x="910" y="45"/>
                  <a:pt x="912" y="54"/>
                </a:cubicBezTo>
                <a:cubicBezTo>
                  <a:pt x="914" y="63"/>
                  <a:pt x="924" y="68"/>
                  <a:pt x="932" y="65"/>
                </a:cubicBezTo>
                <a:lnTo>
                  <a:pt x="985" y="51"/>
                </a:lnTo>
                <a:lnTo>
                  <a:pt x="686" y="350"/>
                </a:lnTo>
                <a:lnTo>
                  <a:pt x="582" y="245"/>
                </a:lnTo>
                <a:cubicBezTo>
                  <a:pt x="579" y="242"/>
                  <a:pt x="574" y="240"/>
                  <a:pt x="570" y="240"/>
                </a:cubicBezTo>
                <a:cubicBezTo>
                  <a:pt x="565" y="240"/>
                  <a:pt x="561" y="242"/>
                  <a:pt x="558" y="245"/>
                </a:cubicBezTo>
                <a:lnTo>
                  <a:pt x="442" y="362"/>
                </a:lnTo>
                <a:cubicBezTo>
                  <a:pt x="442" y="362"/>
                  <a:pt x="442" y="362"/>
                  <a:pt x="442" y="362"/>
                </a:cubicBezTo>
                <a:lnTo>
                  <a:pt x="224" y="579"/>
                </a:lnTo>
                <a:cubicBezTo>
                  <a:pt x="217" y="586"/>
                  <a:pt x="217" y="596"/>
                  <a:pt x="224" y="603"/>
                </a:cubicBezTo>
                <a:cubicBezTo>
                  <a:pt x="227" y="606"/>
                  <a:pt x="231" y="608"/>
                  <a:pt x="236" y="608"/>
                </a:cubicBezTo>
                <a:cubicBezTo>
                  <a:pt x="240" y="608"/>
                  <a:pt x="244" y="606"/>
                  <a:pt x="247" y="603"/>
                </a:cubicBezTo>
                <a:lnTo>
                  <a:pt x="321" y="530"/>
                </a:lnTo>
                <a:lnTo>
                  <a:pt x="321" y="672"/>
                </a:lnTo>
                <a:cubicBezTo>
                  <a:pt x="280" y="677"/>
                  <a:pt x="251" y="686"/>
                  <a:pt x="242" y="690"/>
                </a:cubicBezTo>
                <a:lnTo>
                  <a:pt x="163" y="690"/>
                </a:lnTo>
                <a:lnTo>
                  <a:pt x="163" y="656"/>
                </a:lnTo>
                <a:cubicBezTo>
                  <a:pt x="163" y="647"/>
                  <a:pt x="156" y="640"/>
                  <a:pt x="147" y="640"/>
                </a:cubicBezTo>
                <a:lnTo>
                  <a:pt x="17" y="640"/>
                </a:lnTo>
                <a:cubicBezTo>
                  <a:pt x="8" y="640"/>
                  <a:pt x="0" y="647"/>
                  <a:pt x="0" y="656"/>
                </a:cubicBezTo>
                <a:lnTo>
                  <a:pt x="0" y="995"/>
                </a:lnTo>
                <a:cubicBezTo>
                  <a:pt x="0" y="1004"/>
                  <a:pt x="8" y="1012"/>
                  <a:pt x="17" y="1012"/>
                </a:cubicBezTo>
                <a:lnTo>
                  <a:pt x="147" y="1012"/>
                </a:lnTo>
                <a:cubicBezTo>
                  <a:pt x="156" y="1012"/>
                  <a:pt x="163" y="1004"/>
                  <a:pt x="163" y="995"/>
                </a:cubicBezTo>
                <a:lnTo>
                  <a:pt x="163" y="956"/>
                </a:lnTo>
                <a:lnTo>
                  <a:pt x="232" y="956"/>
                </a:lnTo>
                <a:lnTo>
                  <a:pt x="608" y="1063"/>
                </a:lnTo>
                <a:cubicBezTo>
                  <a:pt x="620" y="1066"/>
                  <a:pt x="632" y="1068"/>
                  <a:pt x="643" y="1068"/>
                </a:cubicBezTo>
                <a:cubicBezTo>
                  <a:pt x="656" y="1068"/>
                  <a:pt x="670" y="1066"/>
                  <a:pt x="682" y="1062"/>
                </a:cubicBezTo>
                <a:cubicBezTo>
                  <a:pt x="684" y="1061"/>
                  <a:pt x="685" y="1061"/>
                  <a:pt x="686" y="1060"/>
                </a:cubicBezTo>
                <a:cubicBezTo>
                  <a:pt x="687" y="1060"/>
                  <a:pt x="785" y="1001"/>
                  <a:pt x="873" y="950"/>
                </a:cubicBezTo>
                <a:cubicBezTo>
                  <a:pt x="883" y="944"/>
                  <a:pt x="892" y="937"/>
                  <a:pt x="900" y="928"/>
                </a:cubicBezTo>
                <a:lnTo>
                  <a:pt x="1062" y="750"/>
                </a:lnTo>
                <a:cubicBezTo>
                  <a:pt x="1065" y="747"/>
                  <a:pt x="1067" y="743"/>
                  <a:pt x="1067" y="739"/>
                </a:cubicBezTo>
                <a:cubicBezTo>
                  <a:pt x="1067" y="735"/>
                  <a:pt x="1066" y="730"/>
                  <a:pt x="1063" y="727"/>
                </a:cubicBezTo>
              </a:path>
            </a:pathLst>
          </a:custGeom>
          <a:solidFill>
            <a:srgbClr val="1B9D91"/>
          </a:solidFill>
          <a:ln>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0" name="Money5" descr="{&quot;Key&quot;:&quot;POWER_USER_SHAPE_ICON&quot;,&quot;Value&quot;:&quot;POWER_USER_SHAPE_ICON_STYLE_1&quot;}">
            <a:extLst>
              <a:ext uri="{FF2B5EF4-FFF2-40B4-BE49-F238E27FC236}">
                <a16:creationId xmlns:a16="http://schemas.microsoft.com/office/drawing/2014/main" id="{E35A526D-2EB0-49E0-80BD-36BFA1203EBE}"/>
              </a:ext>
            </a:extLst>
          </p:cNvPr>
          <p:cNvGrpSpPr>
            <a:grpSpLocks noChangeAspect="1"/>
          </p:cNvGrpSpPr>
          <p:nvPr/>
        </p:nvGrpSpPr>
        <p:grpSpPr>
          <a:xfrm>
            <a:off x="7151910" y="3818243"/>
            <a:ext cx="773979" cy="643820"/>
            <a:chOff x="5861051" y="2471738"/>
            <a:chExt cx="528638" cy="439738"/>
          </a:xfrm>
          <a:solidFill>
            <a:srgbClr val="1B9D91"/>
          </a:solidFill>
        </p:grpSpPr>
        <p:sp>
          <p:nvSpPr>
            <p:cNvPr id="51" name="Freeform 566">
              <a:extLst>
                <a:ext uri="{FF2B5EF4-FFF2-40B4-BE49-F238E27FC236}">
                  <a16:creationId xmlns:a16="http://schemas.microsoft.com/office/drawing/2014/main" id="{56A9E736-6F3E-4082-8EE1-5A32913FE414}"/>
                </a:ext>
              </a:extLst>
            </p:cNvPr>
            <p:cNvSpPr>
              <a:spLocks/>
            </p:cNvSpPr>
            <p:nvPr/>
          </p:nvSpPr>
          <p:spPr bwMode="auto">
            <a:xfrm>
              <a:off x="6175376" y="2700338"/>
              <a:ext cx="85725" cy="115888"/>
            </a:xfrm>
            <a:custGeom>
              <a:avLst/>
              <a:gdLst>
                <a:gd name="T0" fmla="*/ 59 w 94"/>
                <a:gd name="T1" fmla="*/ 126 h 126"/>
                <a:gd name="T2" fmla="*/ 36 w 94"/>
                <a:gd name="T3" fmla="*/ 126 h 126"/>
                <a:gd name="T4" fmla="*/ 0 w 94"/>
                <a:gd name="T5" fmla="*/ 91 h 126"/>
                <a:gd name="T6" fmla="*/ 8 w 94"/>
                <a:gd name="T7" fmla="*/ 83 h 126"/>
                <a:gd name="T8" fmla="*/ 15 w 94"/>
                <a:gd name="T9" fmla="*/ 91 h 126"/>
                <a:gd name="T10" fmla="*/ 36 w 94"/>
                <a:gd name="T11" fmla="*/ 111 h 126"/>
                <a:gd name="T12" fmla="*/ 59 w 94"/>
                <a:gd name="T13" fmla="*/ 111 h 126"/>
                <a:gd name="T14" fmla="*/ 79 w 94"/>
                <a:gd name="T15" fmla="*/ 91 h 126"/>
                <a:gd name="T16" fmla="*/ 59 w 94"/>
                <a:gd name="T17" fmla="*/ 70 h 126"/>
                <a:gd name="T18" fmla="*/ 36 w 94"/>
                <a:gd name="T19" fmla="*/ 70 h 126"/>
                <a:gd name="T20" fmla="*/ 0 w 94"/>
                <a:gd name="T21" fmla="*/ 35 h 126"/>
                <a:gd name="T22" fmla="*/ 36 w 94"/>
                <a:gd name="T23" fmla="*/ 0 h 126"/>
                <a:gd name="T24" fmla="*/ 59 w 94"/>
                <a:gd name="T25" fmla="*/ 0 h 126"/>
                <a:gd name="T26" fmla="*/ 94 w 94"/>
                <a:gd name="T27" fmla="*/ 35 h 126"/>
                <a:gd name="T28" fmla="*/ 87 w 94"/>
                <a:gd name="T29" fmla="*/ 42 h 126"/>
                <a:gd name="T30" fmla="*/ 79 w 94"/>
                <a:gd name="T31" fmla="*/ 35 h 126"/>
                <a:gd name="T32" fmla="*/ 59 w 94"/>
                <a:gd name="T33" fmla="*/ 14 h 126"/>
                <a:gd name="T34" fmla="*/ 36 w 94"/>
                <a:gd name="T35" fmla="*/ 14 h 126"/>
                <a:gd name="T36" fmla="*/ 15 w 94"/>
                <a:gd name="T37" fmla="*/ 35 h 126"/>
                <a:gd name="T38" fmla="*/ 36 w 94"/>
                <a:gd name="T39" fmla="*/ 55 h 126"/>
                <a:gd name="T40" fmla="*/ 59 w 94"/>
                <a:gd name="T41" fmla="*/ 55 h 126"/>
                <a:gd name="T42" fmla="*/ 94 w 94"/>
                <a:gd name="T43" fmla="*/ 91 h 126"/>
                <a:gd name="T44" fmla="*/ 59 w 94"/>
                <a:gd name="T4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126">
                  <a:moveTo>
                    <a:pt x="59" y="126"/>
                  </a:moveTo>
                  <a:lnTo>
                    <a:pt x="36" y="126"/>
                  </a:lnTo>
                  <a:cubicBezTo>
                    <a:pt x="16" y="126"/>
                    <a:pt x="0" y="110"/>
                    <a:pt x="0" y="91"/>
                  </a:cubicBezTo>
                  <a:cubicBezTo>
                    <a:pt x="0" y="87"/>
                    <a:pt x="4" y="83"/>
                    <a:pt x="8" y="83"/>
                  </a:cubicBezTo>
                  <a:cubicBezTo>
                    <a:pt x="12" y="83"/>
                    <a:pt x="15" y="87"/>
                    <a:pt x="15" y="91"/>
                  </a:cubicBezTo>
                  <a:cubicBezTo>
                    <a:pt x="15" y="102"/>
                    <a:pt x="24" y="111"/>
                    <a:pt x="36" y="111"/>
                  </a:cubicBezTo>
                  <a:lnTo>
                    <a:pt x="59" y="111"/>
                  </a:lnTo>
                  <a:cubicBezTo>
                    <a:pt x="70" y="111"/>
                    <a:pt x="79" y="102"/>
                    <a:pt x="79" y="91"/>
                  </a:cubicBezTo>
                  <a:cubicBezTo>
                    <a:pt x="79" y="79"/>
                    <a:pt x="70" y="70"/>
                    <a:pt x="59" y="70"/>
                  </a:cubicBezTo>
                  <a:lnTo>
                    <a:pt x="36" y="70"/>
                  </a:lnTo>
                  <a:cubicBezTo>
                    <a:pt x="16" y="70"/>
                    <a:pt x="0" y="54"/>
                    <a:pt x="0" y="35"/>
                  </a:cubicBezTo>
                  <a:cubicBezTo>
                    <a:pt x="0" y="15"/>
                    <a:pt x="16" y="0"/>
                    <a:pt x="36" y="0"/>
                  </a:cubicBezTo>
                  <a:lnTo>
                    <a:pt x="59" y="0"/>
                  </a:lnTo>
                  <a:cubicBezTo>
                    <a:pt x="78" y="0"/>
                    <a:pt x="94" y="15"/>
                    <a:pt x="94" y="35"/>
                  </a:cubicBezTo>
                  <a:cubicBezTo>
                    <a:pt x="94" y="39"/>
                    <a:pt x="91" y="42"/>
                    <a:pt x="87" y="42"/>
                  </a:cubicBezTo>
                  <a:cubicBezTo>
                    <a:pt x="83" y="42"/>
                    <a:pt x="79" y="39"/>
                    <a:pt x="79" y="35"/>
                  </a:cubicBezTo>
                  <a:cubicBezTo>
                    <a:pt x="79" y="23"/>
                    <a:pt x="70" y="14"/>
                    <a:pt x="59" y="14"/>
                  </a:cubicBezTo>
                  <a:lnTo>
                    <a:pt x="36" y="14"/>
                  </a:lnTo>
                  <a:cubicBezTo>
                    <a:pt x="24" y="14"/>
                    <a:pt x="15" y="23"/>
                    <a:pt x="15" y="35"/>
                  </a:cubicBezTo>
                  <a:cubicBezTo>
                    <a:pt x="15" y="46"/>
                    <a:pt x="24" y="55"/>
                    <a:pt x="36" y="55"/>
                  </a:cubicBezTo>
                  <a:lnTo>
                    <a:pt x="59" y="55"/>
                  </a:lnTo>
                  <a:cubicBezTo>
                    <a:pt x="78" y="55"/>
                    <a:pt x="94" y="71"/>
                    <a:pt x="94" y="91"/>
                  </a:cubicBezTo>
                  <a:cubicBezTo>
                    <a:pt x="94" y="110"/>
                    <a:pt x="78" y="126"/>
                    <a:pt x="59" y="126"/>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567">
              <a:extLst>
                <a:ext uri="{FF2B5EF4-FFF2-40B4-BE49-F238E27FC236}">
                  <a16:creationId xmlns:a16="http://schemas.microsoft.com/office/drawing/2014/main" id="{85948C97-C976-484B-8E36-B5DD6B355174}"/>
                </a:ext>
              </a:extLst>
            </p:cNvPr>
            <p:cNvSpPr>
              <a:spLocks/>
            </p:cNvSpPr>
            <p:nvPr/>
          </p:nvSpPr>
          <p:spPr bwMode="auto">
            <a:xfrm>
              <a:off x="6211889" y="2676525"/>
              <a:ext cx="12700" cy="36513"/>
            </a:xfrm>
            <a:custGeom>
              <a:avLst/>
              <a:gdLst>
                <a:gd name="T0" fmla="*/ 7 w 14"/>
                <a:gd name="T1" fmla="*/ 40 h 40"/>
                <a:gd name="T2" fmla="*/ 0 w 14"/>
                <a:gd name="T3" fmla="*/ 33 h 40"/>
                <a:gd name="T4" fmla="*/ 0 w 14"/>
                <a:gd name="T5" fmla="*/ 7 h 40"/>
                <a:gd name="T6" fmla="*/ 7 w 14"/>
                <a:gd name="T7" fmla="*/ 0 h 40"/>
                <a:gd name="T8" fmla="*/ 14 w 14"/>
                <a:gd name="T9" fmla="*/ 7 h 40"/>
                <a:gd name="T10" fmla="*/ 14 w 14"/>
                <a:gd name="T11" fmla="*/ 33 h 40"/>
                <a:gd name="T12" fmla="*/ 7 w 1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4" h="40">
                  <a:moveTo>
                    <a:pt x="7" y="40"/>
                  </a:moveTo>
                  <a:cubicBezTo>
                    <a:pt x="3" y="40"/>
                    <a:pt x="0" y="37"/>
                    <a:pt x="0" y="33"/>
                  </a:cubicBezTo>
                  <a:lnTo>
                    <a:pt x="0" y="7"/>
                  </a:lnTo>
                  <a:cubicBezTo>
                    <a:pt x="0" y="3"/>
                    <a:pt x="3" y="0"/>
                    <a:pt x="7" y="0"/>
                  </a:cubicBezTo>
                  <a:cubicBezTo>
                    <a:pt x="11" y="0"/>
                    <a:pt x="14" y="3"/>
                    <a:pt x="14" y="7"/>
                  </a:cubicBezTo>
                  <a:lnTo>
                    <a:pt x="14" y="33"/>
                  </a:lnTo>
                  <a:cubicBezTo>
                    <a:pt x="14" y="37"/>
                    <a:pt x="11" y="40"/>
                    <a:pt x="7" y="40"/>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568">
              <a:extLst>
                <a:ext uri="{FF2B5EF4-FFF2-40B4-BE49-F238E27FC236}">
                  <a16:creationId xmlns:a16="http://schemas.microsoft.com/office/drawing/2014/main" id="{AF381DEC-CDAE-4C71-9A97-E43DFC6BAD62}"/>
                </a:ext>
              </a:extLst>
            </p:cNvPr>
            <p:cNvSpPr>
              <a:spLocks/>
            </p:cNvSpPr>
            <p:nvPr/>
          </p:nvSpPr>
          <p:spPr bwMode="auto">
            <a:xfrm>
              <a:off x="6211889" y="2801938"/>
              <a:ext cx="12700" cy="38100"/>
            </a:xfrm>
            <a:custGeom>
              <a:avLst/>
              <a:gdLst>
                <a:gd name="T0" fmla="*/ 7 w 14"/>
                <a:gd name="T1" fmla="*/ 41 h 41"/>
                <a:gd name="T2" fmla="*/ 0 w 14"/>
                <a:gd name="T3" fmla="*/ 33 h 41"/>
                <a:gd name="T4" fmla="*/ 0 w 14"/>
                <a:gd name="T5" fmla="*/ 7 h 41"/>
                <a:gd name="T6" fmla="*/ 7 w 14"/>
                <a:gd name="T7" fmla="*/ 0 h 41"/>
                <a:gd name="T8" fmla="*/ 14 w 14"/>
                <a:gd name="T9" fmla="*/ 7 h 41"/>
                <a:gd name="T10" fmla="*/ 14 w 14"/>
                <a:gd name="T11" fmla="*/ 33 h 41"/>
                <a:gd name="T12" fmla="*/ 7 w 14"/>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4" h="41">
                  <a:moveTo>
                    <a:pt x="7" y="41"/>
                  </a:moveTo>
                  <a:cubicBezTo>
                    <a:pt x="3" y="41"/>
                    <a:pt x="0" y="37"/>
                    <a:pt x="0" y="33"/>
                  </a:cubicBezTo>
                  <a:lnTo>
                    <a:pt x="0" y="7"/>
                  </a:lnTo>
                  <a:cubicBezTo>
                    <a:pt x="0" y="3"/>
                    <a:pt x="3" y="0"/>
                    <a:pt x="7" y="0"/>
                  </a:cubicBezTo>
                  <a:cubicBezTo>
                    <a:pt x="11" y="0"/>
                    <a:pt x="14" y="3"/>
                    <a:pt x="14" y="7"/>
                  </a:cubicBezTo>
                  <a:lnTo>
                    <a:pt x="14" y="33"/>
                  </a:lnTo>
                  <a:cubicBezTo>
                    <a:pt x="14" y="37"/>
                    <a:pt x="11" y="41"/>
                    <a:pt x="7" y="41"/>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569">
              <a:extLst>
                <a:ext uri="{FF2B5EF4-FFF2-40B4-BE49-F238E27FC236}">
                  <a16:creationId xmlns:a16="http://schemas.microsoft.com/office/drawing/2014/main" id="{2FE234DB-730F-4BAC-A720-97D9D251E246}"/>
                </a:ext>
              </a:extLst>
            </p:cNvPr>
            <p:cNvSpPr>
              <a:spLocks/>
            </p:cNvSpPr>
            <p:nvPr/>
          </p:nvSpPr>
          <p:spPr bwMode="auto">
            <a:xfrm>
              <a:off x="6105526" y="2471738"/>
              <a:ext cx="223838" cy="93663"/>
            </a:xfrm>
            <a:custGeom>
              <a:avLst/>
              <a:gdLst>
                <a:gd name="T0" fmla="*/ 183 w 244"/>
                <a:gd name="T1" fmla="*/ 102 h 102"/>
                <a:gd name="T2" fmla="*/ 176 w 244"/>
                <a:gd name="T3" fmla="*/ 95 h 102"/>
                <a:gd name="T4" fmla="*/ 218 w 244"/>
                <a:gd name="T5" fmla="*/ 50 h 102"/>
                <a:gd name="T6" fmla="*/ 227 w 244"/>
                <a:gd name="T7" fmla="*/ 42 h 102"/>
                <a:gd name="T8" fmla="*/ 227 w 244"/>
                <a:gd name="T9" fmla="*/ 33 h 102"/>
                <a:gd name="T10" fmla="*/ 216 w 244"/>
                <a:gd name="T11" fmla="*/ 30 h 102"/>
                <a:gd name="T12" fmla="*/ 171 w 244"/>
                <a:gd name="T13" fmla="*/ 21 h 102"/>
                <a:gd name="T14" fmla="*/ 143 w 244"/>
                <a:gd name="T15" fmla="*/ 26 h 102"/>
                <a:gd name="T16" fmla="*/ 122 w 244"/>
                <a:gd name="T17" fmla="*/ 29 h 102"/>
                <a:gd name="T18" fmla="*/ 101 w 244"/>
                <a:gd name="T19" fmla="*/ 26 h 102"/>
                <a:gd name="T20" fmla="*/ 73 w 244"/>
                <a:gd name="T21" fmla="*/ 21 h 102"/>
                <a:gd name="T22" fmla="*/ 29 w 244"/>
                <a:gd name="T23" fmla="*/ 30 h 102"/>
                <a:gd name="T24" fmla="*/ 18 w 244"/>
                <a:gd name="T25" fmla="*/ 33 h 102"/>
                <a:gd name="T26" fmla="*/ 18 w 244"/>
                <a:gd name="T27" fmla="*/ 42 h 102"/>
                <a:gd name="T28" fmla="*/ 26 w 244"/>
                <a:gd name="T29" fmla="*/ 50 h 102"/>
                <a:gd name="T30" fmla="*/ 68 w 244"/>
                <a:gd name="T31" fmla="*/ 95 h 102"/>
                <a:gd name="T32" fmla="*/ 61 w 244"/>
                <a:gd name="T33" fmla="*/ 102 h 102"/>
                <a:gd name="T34" fmla="*/ 54 w 244"/>
                <a:gd name="T35" fmla="*/ 96 h 102"/>
                <a:gd name="T36" fmla="*/ 17 w 244"/>
                <a:gd name="T37" fmla="*/ 61 h 102"/>
                <a:gd name="T38" fmla="*/ 4 w 244"/>
                <a:gd name="T39" fmla="*/ 48 h 102"/>
                <a:gd name="T40" fmla="*/ 5 w 244"/>
                <a:gd name="T41" fmla="*/ 26 h 102"/>
                <a:gd name="T42" fmla="*/ 29 w 244"/>
                <a:gd name="T43" fmla="*/ 16 h 102"/>
                <a:gd name="T44" fmla="*/ 63 w 244"/>
                <a:gd name="T45" fmla="*/ 10 h 102"/>
                <a:gd name="T46" fmla="*/ 109 w 244"/>
                <a:gd name="T47" fmla="*/ 13 h 102"/>
                <a:gd name="T48" fmla="*/ 120 w 244"/>
                <a:gd name="T49" fmla="*/ 14 h 102"/>
                <a:gd name="T50" fmla="*/ 124 w 244"/>
                <a:gd name="T51" fmla="*/ 14 h 102"/>
                <a:gd name="T52" fmla="*/ 136 w 244"/>
                <a:gd name="T53" fmla="*/ 13 h 102"/>
                <a:gd name="T54" fmla="*/ 181 w 244"/>
                <a:gd name="T55" fmla="*/ 10 h 102"/>
                <a:gd name="T56" fmla="*/ 216 w 244"/>
                <a:gd name="T57" fmla="*/ 16 h 102"/>
                <a:gd name="T58" fmla="*/ 239 w 244"/>
                <a:gd name="T59" fmla="*/ 26 h 102"/>
                <a:gd name="T60" fmla="*/ 240 w 244"/>
                <a:gd name="T61" fmla="*/ 48 h 102"/>
                <a:gd name="T62" fmla="*/ 228 w 244"/>
                <a:gd name="T63" fmla="*/ 61 h 102"/>
                <a:gd name="T64" fmla="*/ 190 w 244"/>
                <a:gd name="T65" fmla="*/ 96 h 102"/>
                <a:gd name="T66" fmla="*/ 183 w 244"/>
                <a:gd name="T6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 h="102">
                  <a:moveTo>
                    <a:pt x="183" y="102"/>
                  </a:moveTo>
                  <a:cubicBezTo>
                    <a:pt x="179" y="102"/>
                    <a:pt x="176" y="99"/>
                    <a:pt x="176" y="95"/>
                  </a:cubicBezTo>
                  <a:cubicBezTo>
                    <a:pt x="176" y="89"/>
                    <a:pt x="182" y="81"/>
                    <a:pt x="218" y="50"/>
                  </a:cubicBezTo>
                  <a:cubicBezTo>
                    <a:pt x="221" y="47"/>
                    <a:pt x="225" y="44"/>
                    <a:pt x="227" y="42"/>
                  </a:cubicBezTo>
                  <a:cubicBezTo>
                    <a:pt x="227" y="40"/>
                    <a:pt x="228" y="36"/>
                    <a:pt x="227" y="33"/>
                  </a:cubicBezTo>
                  <a:cubicBezTo>
                    <a:pt x="225" y="31"/>
                    <a:pt x="221" y="30"/>
                    <a:pt x="216" y="30"/>
                  </a:cubicBezTo>
                  <a:cubicBezTo>
                    <a:pt x="188" y="30"/>
                    <a:pt x="179" y="29"/>
                    <a:pt x="171" y="21"/>
                  </a:cubicBezTo>
                  <a:cubicBezTo>
                    <a:pt x="168" y="18"/>
                    <a:pt x="153" y="20"/>
                    <a:pt x="143" y="26"/>
                  </a:cubicBezTo>
                  <a:cubicBezTo>
                    <a:pt x="136" y="30"/>
                    <a:pt x="128" y="30"/>
                    <a:pt x="122" y="29"/>
                  </a:cubicBezTo>
                  <a:cubicBezTo>
                    <a:pt x="116" y="30"/>
                    <a:pt x="109" y="30"/>
                    <a:pt x="101" y="26"/>
                  </a:cubicBezTo>
                  <a:cubicBezTo>
                    <a:pt x="91" y="20"/>
                    <a:pt x="76" y="18"/>
                    <a:pt x="73" y="21"/>
                  </a:cubicBezTo>
                  <a:cubicBezTo>
                    <a:pt x="65" y="29"/>
                    <a:pt x="56" y="30"/>
                    <a:pt x="29" y="30"/>
                  </a:cubicBezTo>
                  <a:cubicBezTo>
                    <a:pt x="23" y="30"/>
                    <a:pt x="19" y="31"/>
                    <a:pt x="18" y="33"/>
                  </a:cubicBezTo>
                  <a:cubicBezTo>
                    <a:pt x="16" y="36"/>
                    <a:pt x="17" y="40"/>
                    <a:pt x="18" y="42"/>
                  </a:cubicBezTo>
                  <a:cubicBezTo>
                    <a:pt x="19" y="44"/>
                    <a:pt x="23" y="47"/>
                    <a:pt x="26" y="50"/>
                  </a:cubicBezTo>
                  <a:cubicBezTo>
                    <a:pt x="62" y="81"/>
                    <a:pt x="68" y="89"/>
                    <a:pt x="68" y="95"/>
                  </a:cubicBezTo>
                  <a:cubicBezTo>
                    <a:pt x="68" y="99"/>
                    <a:pt x="65" y="102"/>
                    <a:pt x="61" y="102"/>
                  </a:cubicBezTo>
                  <a:cubicBezTo>
                    <a:pt x="58" y="102"/>
                    <a:pt x="55" y="100"/>
                    <a:pt x="54" y="96"/>
                  </a:cubicBezTo>
                  <a:cubicBezTo>
                    <a:pt x="51" y="90"/>
                    <a:pt x="26" y="69"/>
                    <a:pt x="17" y="61"/>
                  </a:cubicBezTo>
                  <a:cubicBezTo>
                    <a:pt x="6" y="52"/>
                    <a:pt x="5" y="50"/>
                    <a:pt x="4" y="48"/>
                  </a:cubicBezTo>
                  <a:cubicBezTo>
                    <a:pt x="3" y="44"/>
                    <a:pt x="0" y="34"/>
                    <a:pt x="5" y="26"/>
                  </a:cubicBezTo>
                  <a:cubicBezTo>
                    <a:pt x="10" y="19"/>
                    <a:pt x="17" y="16"/>
                    <a:pt x="29" y="16"/>
                  </a:cubicBezTo>
                  <a:cubicBezTo>
                    <a:pt x="57" y="16"/>
                    <a:pt x="59" y="14"/>
                    <a:pt x="63" y="10"/>
                  </a:cubicBezTo>
                  <a:cubicBezTo>
                    <a:pt x="73" y="0"/>
                    <a:pt x="98" y="7"/>
                    <a:pt x="109" y="13"/>
                  </a:cubicBezTo>
                  <a:cubicBezTo>
                    <a:pt x="112" y="16"/>
                    <a:pt x="117" y="15"/>
                    <a:pt x="120" y="14"/>
                  </a:cubicBezTo>
                  <a:cubicBezTo>
                    <a:pt x="122" y="14"/>
                    <a:pt x="123" y="14"/>
                    <a:pt x="124" y="14"/>
                  </a:cubicBezTo>
                  <a:cubicBezTo>
                    <a:pt x="127" y="15"/>
                    <a:pt x="132" y="16"/>
                    <a:pt x="136" y="13"/>
                  </a:cubicBezTo>
                  <a:cubicBezTo>
                    <a:pt x="146" y="7"/>
                    <a:pt x="171" y="0"/>
                    <a:pt x="181" y="10"/>
                  </a:cubicBezTo>
                  <a:cubicBezTo>
                    <a:pt x="185" y="14"/>
                    <a:pt x="188" y="16"/>
                    <a:pt x="216" y="16"/>
                  </a:cubicBezTo>
                  <a:cubicBezTo>
                    <a:pt x="227" y="16"/>
                    <a:pt x="235" y="19"/>
                    <a:pt x="239" y="26"/>
                  </a:cubicBezTo>
                  <a:cubicBezTo>
                    <a:pt x="244" y="34"/>
                    <a:pt x="242" y="44"/>
                    <a:pt x="240" y="48"/>
                  </a:cubicBezTo>
                  <a:cubicBezTo>
                    <a:pt x="240" y="50"/>
                    <a:pt x="238" y="52"/>
                    <a:pt x="228" y="61"/>
                  </a:cubicBezTo>
                  <a:cubicBezTo>
                    <a:pt x="218" y="69"/>
                    <a:pt x="194" y="90"/>
                    <a:pt x="190" y="96"/>
                  </a:cubicBezTo>
                  <a:cubicBezTo>
                    <a:pt x="190" y="100"/>
                    <a:pt x="187" y="102"/>
                    <a:pt x="183" y="102"/>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570">
              <a:extLst>
                <a:ext uri="{FF2B5EF4-FFF2-40B4-BE49-F238E27FC236}">
                  <a16:creationId xmlns:a16="http://schemas.microsoft.com/office/drawing/2014/main" id="{C01C9196-65BE-4D87-93B6-496859D23FAC}"/>
                </a:ext>
              </a:extLst>
            </p:cNvPr>
            <p:cNvSpPr>
              <a:spLocks noEditPoints="1"/>
            </p:cNvSpPr>
            <p:nvPr/>
          </p:nvSpPr>
          <p:spPr bwMode="auto">
            <a:xfrm>
              <a:off x="6140451" y="2552700"/>
              <a:ext cx="153988" cy="60325"/>
            </a:xfrm>
            <a:custGeom>
              <a:avLst/>
              <a:gdLst>
                <a:gd name="T0" fmla="*/ 33 w 170"/>
                <a:gd name="T1" fmla="*/ 14 h 66"/>
                <a:gd name="T2" fmla="*/ 15 w 170"/>
                <a:gd name="T3" fmla="*/ 33 h 66"/>
                <a:gd name="T4" fmla="*/ 33 w 170"/>
                <a:gd name="T5" fmla="*/ 52 h 66"/>
                <a:gd name="T6" fmla="*/ 137 w 170"/>
                <a:gd name="T7" fmla="*/ 52 h 66"/>
                <a:gd name="T8" fmla="*/ 156 w 170"/>
                <a:gd name="T9" fmla="*/ 33 h 66"/>
                <a:gd name="T10" fmla="*/ 137 w 170"/>
                <a:gd name="T11" fmla="*/ 14 h 66"/>
                <a:gd name="T12" fmla="*/ 33 w 170"/>
                <a:gd name="T13" fmla="*/ 14 h 66"/>
                <a:gd name="T14" fmla="*/ 137 w 170"/>
                <a:gd name="T15" fmla="*/ 66 h 66"/>
                <a:gd name="T16" fmla="*/ 33 w 170"/>
                <a:gd name="T17" fmla="*/ 66 h 66"/>
                <a:gd name="T18" fmla="*/ 0 w 170"/>
                <a:gd name="T19" fmla="*/ 33 h 66"/>
                <a:gd name="T20" fmla="*/ 33 w 170"/>
                <a:gd name="T21" fmla="*/ 0 h 66"/>
                <a:gd name="T22" fmla="*/ 137 w 170"/>
                <a:gd name="T23" fmla="*/ 0 h 66"/>
                <a:gd name="T24" fmla="*/ 170 w 170"/>
                <a:gd name="T25" fmla="*/ 33 h 66"/>
                <a:gd name="T26" fmla="*/ 137 w 170"/>
                <a:gd name="T2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66">
                  <a:moveTo>
                    <a:pt x="33" y="14"/>
                  </a:moveTo>
                  <a:cubicBezTo>
                    <a:pt x="23" y="14"/>
                    <a:pt x="15" y="23"/>
                    <a:pt x="15" y="33"/>
                  </a:cubicBezTo>
                  <a:cubicBezTo>
                    <a:pt x="15" y="43"/>
                    <a:pt x="23" y="52"/>
                    <a:pt x="33" y="52"/>
                  </a:cubicBezTo>
                  <a:lnTo>
                    <a:pt x="137" y="52"/>
                  </a:lnTo>
                  <a:cubicBezTo>
                    <a:pt x="148" y="52"/>
                    <a:pt x="156" y="43"/>
                    <a:pt x="156" y="33"/>
                  </a:cubicBezTo>
                  <a:cubicBezTo>
                    <a:pt x="156" y="23"/>
                    <a:pt x="148" y="14"/>
                    <a:pt x="137" y="14"/>
                  </a:cubicBezTo>
                  <a:lnTo>
                    <a:pt x="33" y="14"/>
                  </a:lnTo>
                  <a:close/>
                  <a:moveTo>
                    <a:pt x="137" y="66"/>
                  </a:moveTo>
                  <a:lnTo>
                    <a:pt x="33" y="66"/>
                  </a:lnTo>
                  <a:cubicBezTo>
                    <a:pt x="15" y="66"/>
                    <a:pt x="0" y="51"/>
                    <a:pt x="0" y="33"/>
                  </a:cubicBezTo>
                  <a:cubicBezTo>
                    <a:pt x="0" y="15"/>
                    <a:pt x="15" y="0"/>
                    <a:pt x="33" y="0"/>
                  </a:cubicBezTo>
                  <a:lnTo>
                    <a:pt x="137" y="0"/>
                  </a:lnTo>
                  <a:cubicBezTo>
                    <a:pt x="156" y="0"/>
                    <a:pt x="170" y="15"/>
                    <a:pt x="170" y="33"/>
                  </a:cubicBezTo>
                  <a:cubicBezTo>
                    <a:pt x="170" y="51"/>
                    <a:pt x="156" y="66"/>
                    <a:pt x="137" y="66"/>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571">
              <a:extLst>
                <a:ext uri="{FF2B5EF4-FFF2-40B4-BE49-F238E27FC236}">
                  <a16:creationId xmlns:a16="http://schemas.microsoft.com/office/drawing/2014/main" id="{0EABC213-15C8-4236-B27B-BFCECAD572C3}"/>
                </a:ext>
              </a:extLst>
            </p:cNvPr>
            <p:cNvSpPr>
              <a:spLocks/>
            </p:cNvSpPr>
            <p:nvPr/>
          </p:nvSpPr>
          <p:spPr bwMode="auto">
            <a:xfrm>
              <a:off x="6130926" y="2598738"/>
              <a:ext cx="258763" cy="312738"/>
            </a:xfrm>
            <a:custGeom>
              <a:avLst/>
              <a:gdLst>
                <a:gd name="T0" fmla="*/ 95 w 283"/>
                <a:gd name="T1" fmla="*/ 341 h 341"/>
                <a:gd name="T2" fmla="*/ 6 w 283"/>
                <a:gd name="T3" fmla="*/ 319 h 341"/>
                <a:gd name="T4" fmla="*/ 1 w 283"/>
                <a:gd name="T5" fmla="*/ 310 h 341"/>
                <a:gd name="T6" fmla="*/ 11 w 283"/>
                <a:gd name="T7" fmla="*/ 306 h 341"/>
                <a:gd name="T8" fmla="*/ 95 w 283"/>
                <a:gd name="T9" fmla="*/ 326 h 341"/>
                <a:gd name="T10" fmla="*/ 180 w 283"/>
                <a:gd name="T11" fmla="*/ 306 h 341"/>
                <a:gd name="T12" fmla="*/ 229 w 283"/>
                <a:gd name="T13" fmla="*/ 299 h 341"/>
                <a:gd name="T14" fmla="*/ 251 w 283"/>
                <a:gd name="T15" fmla="*/ 300 h 341"/>
                <a:gd name="T16" fmla="*/ 265 w 283"/>
                <a:gd name="T17" fmla="*/ 292 h 341"/>
                <a:gd name="T18" fmla="*/ 257 w 283"/>
                <a:gd name="T19" fmla="*/ 274 h 341"/>
                <a:gd name="T20" fmla="*/ 237 w 283"/>
                <a:gd name="T21" fmla="*/ 163 h 341"/>
                <a:gd name="T22" fmla="*/ 234 w 283"/>
                <a:gd name="T23" fmla="*/ 128 h 341"/>
                <a:gd name="T24" fmla="*/ 143 w 283"/>
                <a:gd name="T25" fmla="*/ 14 h 341"/>
                <a:gd name="T26" fmla="*/ 141 w 283"/>
                <a:gd name="T27" fmla="*/ 4 h 341"/>
                <a:gd name="T28" fmla="*/ 151 w 283"/>
                <a:gd name="T29" fmla="*/ 2 h 341"/>
                <a:gd name="T30" fmla="*/ 249 w 283"/>
                <a:gd name="T31" fmla="*/ 127 h 341"/>
                <a:gd name="T32" fmla="*/ 252 w 283"/>
                <a:gd name="T33" fmla="*/ 162 h 341"/>
                <a:gd name="T34" fmla="*/ 268 w 283"/>
                <a:gd name="T35" fmla="*/ 264 h 341"/>
                <a:gd name="T36" fmla="*/ 279 w 283"/>
                <a:gd name="T37" fmla="*/ 296 h 341"/>
                <a:gd name="T38" fmla="*/ 254 w 283"/>
                <a:gd name="T39" fmla="*/ 314 h 341"/>
                <a:gd name="T40" fmla="*/ 226 w 283"/>
                <a:gd name="T41" fmla="*/ 313 h 341"/>
                <a:gd name="T42" fmla="*/ 185 w 283"/>
                <a:gd name="T43" fmla="*/ 319 h 341"/>
                <a:gd name="T44" fmla="*/ 95 w 283"/>
                <a:gd name="T4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3" h="341">
                  <a:moveTo>
                    <a:pt x="95" y="341"/>
                  </a:moveTo>
                  <a:cubicBezTo>
                    <a:pt x="71" y="341"/>
                    <a:pt x="44" y="334"/>
                    <a:pt x="6" y="319"/>
                  </a:cubicBezTo>
                  <a:cubicBezTo>
                    <a:pt x="2" y="318"/>
                    <a:pt x="0" y="313"/>
                    <a:pt x="1" y="310"/>
                  </a:cubicBezTo>
                  <a:cubicBezTo>
                    <a:pt x="3" y="306"/>
                    <a:pt x="7" y="304"/>
                    <a:pt x="11" y="306"/>
                  </a:cubicBezTo>
                  <a:cubicBezTo>
                    <a:pt x="48" y="320"/>
                    <a:pt x="73" y="326"/>
                    <a:pt x="95" y="326"/>
                  </a:cubicBezTo>
                  <a:cubicBezTo>
                    <a:pt x="117" y="326"/>
                    <a:pt x="143" y="320"/>
                    <a:pt x="180" y="306"/>
                  </a:cubicBezTo>
                  <a:cubicBezTo>
                    <a:pt x="206" y="295"/>
                    <a:pt x="217" y="297"/>
                    <a:pt x="229" y="299"/>
                  </a:cubicBezTo>
                  <a:cubicBezTo>
                    <a:pt x="235" y="300"/>
                    <a:pt x="241" y="301"/>
                    <a:pt x="251" y="300"/>
                  </a:cubicBezTo>
                  <a:cubicBezTo>
                    <a:pt x="256" y="299"/>
                    <a:pt x="263" y="297"/>
                    <a:pt x="265" y="292"/>
                  </a:cubicBezTo>
                  <a:cubicBezTo>
                    <a:pt x="266" y="288"/>
                    <a:pt x="263" y="280"/>
                    <a:pt x="257" y="274"/>
                  </a:cubicBezTo>
                  <a:cubicBezTo>
                    <a:pt x="246" y="263"/>
                    <a:pt x="243" y="225"/>
                    <a:pt x="237" y="163"/>
                  </a:cubicBezTo>
                  <a:cubicBezTo>
                    <a:pt x="236" y="152"/>
                    <a:pt x="236" y="140"/>
                    <a:pt x="234" y="128"/>
                  </a:cubicBezTo>
                  <a:cubicBezTo>
                    <a:pt x="229" y="72"/>
                    <a:pt x="144" y="15"/>
                    <a:pt x="143" y="14"/>
                  </a:cubicBezTo>
                  <a:cubicBezTo>
                    <a:pt x="140" y="12"/>
                    <a:pt x="139" y="7"/>
                    <a:pt x="141" y="4"/>
                  </a:cubicBezTo>
                  <a:cubicBezTo>
                    <a:pt x="143" y="0"/>
                    <a:pt x="148" y="0"/>
                    <a:pt x="151" y="2"/>
                  </a:cubicBezTo>
                  <a:cubicBezTo>
                    <a:pt x="155" y="4"/>
                    <a:pt x="243" y="64"/>
                    <a:pt x="249" y="127"/>
                  </a:cubicBezTo>
                  <a:cubicBezTo>
                    <a:pt x="250" y="138"/>
                    <a:pt x="251" y="150"/>
                    <a:pt x="252" y="162"/>
                  </a:cubicBezTo>
                  <a:cubicBezTo>
                    <a:pt x="255" y="204"/>
                    <a:pt x="260" y="256"/>
                    <a:pt x="268" y="264"/>
                  </a:cubicBezTo>
                  <a:cubicBezTo>
                    <a:pt x="276" y="272"/>
                    <a:pt x="283" y="285"/>
                    <a:pt x="279" y="296"/>
                  </a:cubicBezTo>
                  <a:cubicBezTo>
                    <a:pt x="277" y="303"/>
                    <a:pt x="271" y="311"/>
                    <a:pt x="254" y="314"/>
                  </a:cubicBezTo>
                  <a:cubicBezTo>
                    <a:pt x="241" y="316"/>
                    <a:pt x="233" y="315"/>
                    <a:pt x="226" y="313"/>
                  </a:cubicBezTo>
                  <a:cubicBezTo>
                    <a:pt x="216" y="312"/>
                    <a:pt x="207" y="310"/>
                    <a:pt x="185" y="319"/>
                  </a:cubicBezTo>
                  <a:cubicBezTo>
                    <a:pt x="146" y="334"/>
                    <a:pt x="119" y="341"/>
                    <a:pt x="95" y="341"/>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572">
              <a:extLst>
                <a:ext uri="{FF2B5EF4-FFF2-40B4-BE49-F238E27FC236}">
                  <a16:creationId xmlns:a16="http://schemas.microsoft.com/office/drawing/2014/main" id="{0EE97D2F-6CB1-4412-9B7E-9BA94A64EA64}"/>
                </a:ext>
              </a:extLst>
            </p:cNvPr>
            <p:cNvSpPr>
              <a:spLocks/>
            </p:cNvSpPr>
            <p:nvPr/>
          </p:nvSpPr>
          <p:spPr bwMode="auto">
            <a:xfrm>
              <a:off x="6078539" y="2598738"/>
              <a:ext cx="98425" cy="114300"/>
            </a:xfrm>
            <a:custGeom>
              <a:avLst/>
              <a:gdLst>
                <a:gd name="T0" fmla="*/ 8 w 108"/>
                <a:gd name="T1" fmla="*/ 124 h 124"/>
                <a:gd name="T2" fmla="*/ 6 w 108"/>
                <a:gd name="T3" fmla="*/ 123 h 124"/>
                <a:gd name="T4" fmla="*/ 1 w 108"/>
                <a:gd name="T5" fmla="*/ 115 h 124"/>
                <a:gd name="T6" fmla="*/ 96 w 108"/>
                <a:gd name="T7" fmla="*/ 2 h 124"/>
                <a:gd name="T8" fmla="*/ 106 w 108"/>
                <a:gd name="T9" fmla="*/ 4 h 124"/>
                <a:gd name="T10" fmla="*/ 104 w 108"/>
                <a:gd name="T11" fmla="*/ 14 h 124"/>
                <a:gd name="T12" fmla="*/ 15 w 108"/>
                <a:gd name="T13" fmla="*/ 118 h 124"/>
                <a:gd name="T14" fmla="*/ 8 w 108"/>
                <a:gd name="T15" fmla="*/ 12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24">
                  <a:moveTo>
                    <a:pt x="8" y="124"/>
                  </a:moveTo>
                  <a:cubicBezTo>
                    <a:pt x="7" y="124"/>
                    <a:pt x="6" y="124"/>
                    <a:pt x="6" y="123"/>
                  </a:cubicBezTo>
                  <a:cubicBezTo>
                    <a:pt x="2" y="122"/>
                    <a:pt x="0" y="118"/>
                    <a:pt x="1" y="115"/>
                  </a:cubicBezTo>
                  <a:cubicBezTo>
                    <a:pt x="16" y="56"/>
                    <a:pt x="93" y="4"/>
                    <a:pt x="96" y="2"/>
                  </a:cubicBezTo>
                  <a:cubicBezTo>
                    <a:pt x="99" y="0"/>
                    <a:pt x="104" y="0"/>
                    <a:pt x="106" y="4"/>
                  </a:cubicBezTo>
                  <a:cubicBezTo>
                    <a:pt x="108" y="7"/>
                    <a:pt x="108" y="12"/>
                    <a:pt x="104" y="14"/>
                  </a:cubicBezTo>
                  <a:cubicBezTo>
                    <a:pt x="103" y="14"/>
                    <a:pt x="28" y="65"/>
                    <a:pt x="15" y="118"/>
                  </a:cubicBezTo>
                  <a:cubicBezTo>
                    <a:pt x="14" y="121"/>
                    <a:pt x="11" y="124"/>
                    <a:pt x="8" y="124"/>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573">
              <a:extLst>
                <a:ext uri="{FF2B5EF4-FFF2-40B4-BE49-F238E27FC236}">
                  <a16:creationId xmlns:a16="http://schemas.microsoft.com/office/drawing/2014/main" id="{8E26438E-57CC-4CBB-AA27-BED07F253CDF}"/>
                </a:ext>
              </a:extLst>
            </p:cNvPr>
            <p:cNvSpPr>
              <a:spLocks/>
            </p:cNvSpPr>
            <p:nvPr/>
          </p:nvSpPr>
          <p:spPr bwMode="auto">
            <a:xfrm>
              <a:off x="5975351" y="2855913"/>
              <a:ext cx="133350" cy="55563"/>
            </a:xfrm>
            <a:custGeom>
              <a:avLst/>
              <a:gdLst>
                <a:gd name="T0" fmla="*/ 137 w 145"/>
                <a:gd name="T1" fmla="*/ 60 h 60"/>
                <a:gd name="T2" fmla="*/ 7 w 145"/>
                <a:gd name="T3" fmla="*/ 60 h 60"/>
                <a:gd name="T4" fmla="*/ 0 w 145"/>
                <a:gd name="T5" fmla="*/ 53 h 60"/>
                <a:gd name="T6" fmla="*/ 0 w 145"/>
                <a:gd name="T7" fmla="*/ 39 h 60"/>
                <a:gd name="T8" fmla="*/ 7 w 145"/>
                <a:gd name="T9" fmla="*/ 32 h 60"/>
                <a:gd name="T10" fmla="*/ 14 w 145"/>
                <a:gd name="T11" fmla="*/ 39 h 60"/>
                <a:gd name="T12" fmla="*/ 14 w 145"/>
                <a:gd name="T13" fmla="*/ 45 h 60"/>
                <a:gd name="T14" fmla="*/ 130 w 145"/>
                <a:gd name="T15" fmla="*/ 45 h 60"/>
                <a:gd name="T16" fmla="*/ 130 w 145"/>
                <a:gd name="T17" fmla="*/ 15 h 60"/>
                <a:gd name="T18" fmla="*/ 34 w 145"/>
                <a:gd name="T19" fmla="*/ 15 h 60"/>
                <a:gd name="T20" fmla="*/ 27 w 145"/>
                <a:gd name="T21" fmla="*/ 8 h 60"/>
                <a:gd name="T22" fmla="*/ 34 w 145"/>
                <a:gd name="T23" fmla="*/ 0 h 60"/>
                <a:gd name="T24" fmla="*/ 137 w 145"/>
                <a:gd name="T25" fmla="*/ 0 h 60"/>
                <a:gd name="T26" fmla="*/ 145 w 145"/>
                <a:gd name="T27" fmla="*/ 8 h 60"/>
                <a:gd name="T28" fmla="*/ 145 w 145"/>
                <a:gd name="T29" fmla="*/ 53 h 60"/>
                <a:gd name="T30" fmla="*/ 137 w 145"/>
                <a:gd name="T3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60">
                  <a:moveTo>
                    <a:pt x="137" y="60"/>
                  </a:moveTo>
                  <a:lnTo>
                    <a:pt x="7" y="60"/>
                  </a:lnTo>
                  <a:cubicBezTo>
                    <a:pt x="3" y="60"/>
                    <a:pt x="0" y="57"/>
                    <a:pt x="0" y="53"/>
                  </a:cubicBezTo>
                  <a:lnTo>
                    <a:pt x="0" y="39"/>
                  </a:lnTo>
                  <a:cubicBezTo>
                    <a:pt x="0" y="35"/>
                    <a:pt x="3" y="32"/>
                    <a:pt x="7" y="32"/>
                  </a:cubicBezTo>
                  <a:cubicBezTo>
                    <a:pt x="11" y="32"/>
                    <a:pt x="14" y="35"/>
                    <a:pt x="14" y="39"/>
                  </a:cubicBezTo>
                  <a:lnTo>
                    <a:pt x="14" y="45"/>
                  </a:lnTo>
                  <a:lnTo>
                    <a:pt x="130" y="45"/>
                  </a:lnTo>
                  <a:lnTo>
                    <a:pt x="130" y="15"/>
                  </a:lnTo>
                  <a:lnTo>
                    <a:pt x="34" y="15"/>
                  </a:lnTo>
                  <a:cubicBezTo>
                    <a:pt x="30" y="15"/>
                    <a:pt x="27" y="12"/>
                    <a:pt x="27" y="8"/>
                  </a:cubicBezTo>
                  <a:cubicBezTo>
                    <a:pt x="27" y="4"/>
                    <a:pt x="30" y="0"/>
                    <a:pt x="34" y="0"/>
                  </a:cubicBezTo>
                  <a:lnTo>
                    <a:pt x="137" y="0"/>
                  </a:lnTo>
                  <a:cubicBezTo>
                    <a:pt x="141" y="0"/>
                    <a:pt x="145" y="4"/>
                    <a:pt x="145" y="8"/>
                  </a:cubicBezTo>
                  <a:lnTo>
                    <a:pt x="145" y="53"/>
                  </a:lnTo>
                  <a:cubicBezTo>
                    <a:pt x="145" y="57"/>
                    <a:pt x="141" y="60"/>
                    <a:pt x="137" y="60"/>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574">
              <a:extLst>
                <a:ext uri="{FF2B5EF4-FFF2-40B4-BE49-F238E27FC236}">
                  <a16:creationId xmlns:a16="http://schemas.microsoft.com/office/drawing/2014/main" id="{402CEDEF-A714-4AD3-8060-81840D20B111}"/>
                </a:ext>
              </a:extLst>
            </p:cNvPr>
            <p:cNvSpPr>
              <a:spLocks/>
            </p:cNvSpPr>
            <p:nvPr/>
          </p:nvSpPr>
          <p:spPr bwMode="auto">
            <a:xfrm>
              <a:off x="6000751" y="2814638"/>
              <a:ext cx="125413" cy="55563"/>
            </a:xfrm>
            <a:custGeom>
              <a:avLst/>
              <a:gdLst>
                <a:gd name="T0" fmla="*/ 129 w 137"/>
                <a:gd name="T1" fmla="*/ 60 h 60"/>
                <a:gd name="T2" fmla="*/ 7 w 137"/>
                <a:gd name="T3" fmla="*/ 60 h 60"/>
                <a:gd name="T4" fmla="*/ 0 w 137"/>
                <a:gd name="T5" fmla="*/ 53 h 60"/>
                <a:gd name="T6" fmla="*/ 7 w 137"/>
                <a:gd name="T7" fmla="*/ 45 h 60"/>
                <a:gd name="T8" fmla="*/ 122 w 137"/>
                <a:gd name="T9" fmla="*/ 45 h 60"/>
                <a:gd name="T10" fmla="*/ 122 w 137"/>
                <a:gd name="T11" fmla="*/ 15 h 60"/>
                <a:gd name="T12" fmla="*/ 15 w 137"/>
                <a:gd name="T13" fmla="*/ 15 h 60"/>
                <a:gd name="T14" fmla="*/ 8 w 137"/>
                <a:gd name="T15" fmla="*/ 7 h 60"/>
                <a:gd name="T16" fmla="*/ 15 w 137"/>
                <a:gd name="T17" fmla="*/ 0 h 60"/>
                <a:gd name="T18" fmla="*/ 129 w 137"/>
                <a:gd name="T19" fmla="*/ 0 h 60"/>
                <a:gd name="T20" fmla="*/ 137 w 137"/>
                <a:gd name="T21" fmla="*/ 7 h 60"/>
                <a:gd name="T22" fmla="*/ 137 w 137"/>
                <a:gd name="T23" fmla="*/ 53 h 60"/>
                <a:gd name="T24" fmla="*/ 129 w 137"/>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60">
                  <a:moveTo>
                    <a:pt x="129" y="60"/>
                  </a:moveTo>
                  <a:lnTo>
                    <a:pt x="7" y="60"/>
                  </a:lnTo>
                  <a:cubicBezTo>
                    <a:pt x="3" y="60"/>
                    <a:pt x="0" y="57"/>
                    <a:pt x="0" y="53"/>
                  </a:cubicBezTo>
                  <a:cubicBezTo>
                    <a:pt x="0" y="49"/>
                    <a:pt x="3" y="45"/>
                    <a:pt x="7" y="45"/>
                  </a:cubicBezTo>
                  <a:lnTo>
                    <a:pt x="122" y="45"/>
                  </a:lnTo>
                  <a:lnTo>
                    <a:pt x="122" y="15"/>
                  </a:lnTo>
                  <a:lnTo>
                    <a:pt x="15" y="15"/>
                  </a:lnTo>
                  <a:cubicBezTo>
                    <a:pt x="11" y="15"/>
                    <a:pt x="8" y="11"/>
                    <a:pt x="8" y="7"/>
                  </a:cubicBezTo>
                  <a:cubicBezTo>
                    <a:pt x="8" y="3"/>
                    <a:pt x="11" y="0"/>
                    <a:pt x="15" y="0"/>
                  </a:cubicBezTo>
                  <a:lnTo>
                    <a:pt x="129" y="0"/>
                  </a:lnTo>
                  <a:cubicBezTo>
                    <a:pt x="133" y="0"/>
                    <a:pt x="137" y="3"/>
                    <a:pt x="137" y="7"/>
                  </a:cubicBezTo>
                  <a:lnTo>
                    <a:pt x="137" y="53"/>
                  </a:lnTo>
                  <a:cubicBezTo>
                    <a:pt x="137" y="57"/>
                    <a:pt x="133" y="60"/>
                    <a:pt x="129" y="60"/>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575">
              <a:extLst>
                <a:ext uri="{FF2B5EF4-FFF2-40B4-BE49-F238E27FC236}">
                  <a16:creationId xmlns:a16="http://schemas.microsoft.com/office/drawing/2014/main" id="{51B3DDC2-96C6-4DAB-9DC7-213C80CE2939}"/>
                </a:ext>
              </a:extLst>
            </p:cNvPr>
            <p:cNvSpPr>
              <a:spLocks/>
            </p:cNvSpPr>
            <p:nvPr/>
          </p:nvSpPr>
          <p:spPr bwMode="auto">
            <a:xfrm>
              <a:off x="5988051" y="2773363"/>
              <a:ext cx="120650" cy="55563"/>
            </a:xfrm>
            <a:custGeom>
              <a:avLst/>
              <a:gdLst>
                <a:gd name="T0" fmla="*/ 123 w 131"/>
                <a:gd name="T1" fmla="*/ 60 h 60"/>
                <a:gd name="T2" fmla="*/ 28 w 131"/>
                <a:gd name="T3" fmla="*/ 60 h 60"/>
                <a:gd name="T4" fmla="*/ 21 w 131"/>
                <a:gd name="T5" fmla="*/ 52 h 60"/>
                <a:gd name="T6" fmla="*/ 28 w 131"/>
                <a:gd name="T7" fmla="*/ 45 h 60"/>
                <a:gd name="T8" fmla="*/ 116 w 131"/>
                <a:gd name="T9" fmla="*/ 45 h 60"/>
                <a:gd name="T10" fmla="*/ 116 w 131"/>
                <a:gd name="T11" fmla="*/ 15 h 60"/>
                <a:gd name="T12" fmla="*/ 7 w 131"/>
                <a:gd name="T13" fmla="*/ 15 h 60"/>
                <a:gd name="T14" fmla="*/ 0 w 131"/>
                <a:gd name="T15" fmla="*/ 7 h 60"/>
                <a:gd name="T16" fmla="*/ 7 w 131"/>
                <a:gd name="T17" fmla="*/ 0 h 60"/>
                <a:gd name="T18" fmla="*/ 123 w 131"/>
                <a:gd name="T19" fmla="*/ 0 h 60"/>
                <a:gd name="T20" fmla="*/ 131 w 131"/>
                <a:gd name="T21" fmla="*/ 7 h 60"/>
                <a:gd name="T22" fmla="*/ 131 w 131"/>
                <a:gd name="T23" fmla="*/ 52 h 60"/>
                <a:gd name="T24" fmla="*/ 123 w 131"/>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60">
                  <a:moveTo>
                    <a:pt x="123" y="60"/>
                  </a:moveTo>
                  <a:lnTo>
                    <a:pt x="28" y="60"/>
                  </a:lnTo>
                  <a:cubicBezTo>
                    <a:pt x="24" y="60"/>
                    <a:pt x="21" y="56"/>
                    <a:pt x="21" y="52"/>
                  </a:cubicBezTo>
                  <a:cubicBezTo>
                    <a:pt x="21" y="48"/>
                    <a:pt x="24" y="45"/>
                    <a:pt x="28" y="45"/>
                  </a:cubicBezTo>
                  <a:lnTo>
                    <a:pt x="116" y="45"/>
                  </a:lnTo>
                  <a:lnTo>
                    <a:pt x="116" y="15"/>
                  </a:lnTo>
                  <a:lnTo>
                    <a:pt x="7" y="15"/>
                  </a:lnTo>
                  <a:cubicBezTo>
                    <a:pt x="3" y="15"/>
                    <a:pt x="0" y="11"/>
                    <a:pt x="0" y="7"/>
                  </a:cubicBezTo>
                  <a:cubicBezTo>
                    <a:pt x="0" y="3"/>
                    <a:pt x="3" y="0"/>
                    <a:pt x="7" y="0"/>
                  </a:cubicBezTo>
                  <a:lnTo>
                    <a:pt x="123" y="0"/>
                  </a:lnTo>
                  <a:cubicBezTo>
                    <a:pt x="127" y="0"/>
                    <a:pt x="131" y="3"/>
                    <a:pt x="131" y="7"/>
                  </a:cubicBezTo>
                  <a:lnTo>
                    <a:pt x="131" y="52"/>
                  </a:lnTo>
                  <a:cubicBezTo>
                    <a:pt x="131" y="56"/>
                    <a:pt x="127" y="60"/>
                    <a:pt x="123" y="60"/>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576">
              <a:extLst>
                <a:ext uri="{FF2B5EF4-FFF2-40B4-BE49-F238E27FC236}">
                  <a16:creationId xmlns:a16="http://schemas.microsoft.com/office/drawing/2014/main" id="{F43738E2-E0B4-40AA-8C5A-50899B4751EF}"/>
                </a:ext>
              </a:extLst>
            </p:cNvPr>
            <p:cNvSpPr>
              <a:spLocks/>
            </p:cNvSpPr>
            <p:nvPr/>
          </p:nvSpPr>
          <p:spPr bwMode="auto">
            <a:xfrm>
              <a:off x="5967414" y="2732088"/>
              <a:ext cx="131763" cy="55563"/>
            </a:xfrm>
            <a:custGeom>
              <a:avLst/>
              <a:gdLst>
                <a:gd name="T0" fmla="*/ 138 w 145"/>
                <a:gd name="T1" fmla="*/ 60 h 60"/>
                <a:gd name="T2" fmla="*/ 31 w 145"/>
                <a:gd name="T3" fmla="*/ 60 h 60"/>
                <a:gd name="T4" fmla="*/ 24 w 145"/>
                <a:gd name="T5" fmla="*/ 52 h 60"/>
                <a:gd name="T6" fmla="*/ 31 w 145"/>
                <a:gd name="T7" fmla="*/ 45 h 60"/>
                <a:gd name="T8" fmla="*/ 131 w 145"/>
                <a:gd name="T9" fmla="*/ 45 h 60"/>
                <a:gd name="T10" fmla="*/ 131 w 145"/>
                <a:gd name="T11" fmla="*/ 15 h 60"/>
                <a:gd name="T12" fmla="*/ 15 w 145"/>
                <a:gd name="T13" fmla="*/ 15 h 60"/>
                <a:gd name="T14" fmla="*/ 15 w 145"/>
                <a:gd name="T15" fmla="*/ 35 h 60"/>
                <a:gd name="T16" fmla="*/ 8 w 145"/>
                <a:gd name="T17" fmla="*/ 42 h 60"/>
                <a:gd name="T18" fmla="*/ 0 w 145"/>
                <a:gd name="T19" fmla="*/ 35 h 60"/>
                <a:gd name="T20" fmla="*/ 0 w 145"/>
                <a:gd name="T21" fmla="*/ 7 h 60"/>
                <a:gd name="T22" fmla="*/ 8 w 145"/>
                <a:gd name="T23" fmla="*/ 0 h 60"/>
                <a:gd name="T24" fmla="*/ 138 w 145"/>
                <a:gd name="T25" fmla="*/ 0 h 60"/>
                <a:gd name="T26" fmla="*/ 145 w 145"/>
                <a:gd name="T27" fmla="*/ 7 h 60"/>
                <a:gd name="T28" fmla="*/ 145 w 145"/>
                <a:gd name="T29" fmla="*/ 52 h 60"/>
                <a:gd name="T30" fmla="*/ 138 w 145"/>
                <a:gd name="T3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60">
                  <a:moveTo>
                    <a:pt x="138" y="60"/>
                  </a:moveTo>
                  <a:lnTo>
                    <a:pt x="31" y="60"/>
                  </a:lnTo>
                  <a:cubicBezTo>
                    <a:pt x="27" y="60"/>
                    <a:pt x="24" y="56"/>
                    <a:pt x="24" y="52"/>
                  </a:cubicBezTo>
                  <a:cubicBezTo>
                    <a:pt x="24" y="48"/>
                    <a:pt x="27" y="45"/>
                    <a:pt x="31" y="45"/>
                  </a:cubicBezTo>
                  <a:lnTo>
                    <a:pt x="131" y="45"/>
                  </a:lnTo>
                  <a:lnTo>
                    <a:pt x="131" y="15"/>
                  </a:lnTo>
                  <a:lnTo>
                    <a:pt x="15" y="15"/>
                  </a:lnTo>
                  <a:lnTo>
                    <a:pt x="15" y="35"/>
                  </a:lnTo>
                  <a:cubicBezTo>
                    <a:pt x="15" y="39"/>
                    <a:pt x="12" y="42"/>
                    <a:pt x="8" y="42"/>
                  </a:cubicBezTo>
                  <a:cubicBezTo>
                    <a:pt x="4" y="42"/>
                    <a:pt x="0" y="39"/>
                    <a:pt x="0" y="35"/>
                  </a:cubicBezTo>
                  <a:lnTo>
                    <a:pt x="0" y="7"/>
                  </a:lnTo>
                  <a:cubicBezTo>
                    <a:pt x="0" y="3"/>
                    <a:pt x="4" y="0"/>
                    <a:pt x="8" y="0"/>
                  </a:cubicBezTo>
                  <a:lnTo>
                    <a:pt x="138" y="0"/>
                  </a:lnTo>
                  <a:cubicBezTo>
                    <a:pt x="142" y="0"/>
                    <a:pt x="145" y="3"/>
                    <a:pt x="145" y="7"/>
                  </a:cubicBezTo>
                  <a:lnTo>
                    <a:pt x="145" y="52"/>
                  </a:lnTo>
                  <a:cubicBezTo>
                    <a:pt x="145" y="56"/>
                    <a:pt x="142" y="60"/>
                    <a:pt x="138" y="60"/>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577">
              <a:extLst>
                <a:ext uri="{FF2B5EF4-FFF2-40B4-BE49-F238E27FC236}">
                  <a16:creationId xmlns:a16="http://schemas.microsoft.com/office/drawing/2014/main" id="{5C7DE2BA-E1B0-4365-A1D5-179AAADE9185}"/>
                </a:ext>
              </a:extLst>
            </p:cNvPr>
            <p:cNvSpPr>
              <a:spLocks noEditPoints="1"/>
            </p:cNvSpPr>
            <p:nvPr/>
          </p:nvSpPr>
          <p:spPr bwMode="auto">
            <a:xfrm>
              <a:off x="5861051" y="2749550"/>
              <a:ext cx="160338" cy="161925"/>
            </a:xfrm>
            <a:custGeom>
              <a:avLst/>
              <a:gdLst>
                <a:gd name="T0" fmla="*/ 88 w 176"/>
                <a:gd name="T1" fmla="*/ 15 h 176"/>
                <a:gd name="T2" fmla="*/ 15 w 176"/>
                <a:gd name="T3" fmla="*/ 88 h 176"/>
                <a:gd name="T4" fmla="*/ 88 w 176"/>
                <a:gd name="T5" fmla="*/ 161 h 176"/>
                <a:gd name="T6" fmla="*/ 161 w 176"/>
                <a:gd name="T7" fmla="*/ 88 h 176"/>
                <a:gd name="T8" fmla="*/ 88 w 176"/>
                <a:gd name="T9" fmla="*/ 15 h 176"/>
                <a:gd name="T10" fmla="*/ 88 w 176"/>
                <a:gd name="T11" fmla="*/ 176 h 176"/>
                <a:gd name="T12" fmla="*/ 0 w 176"/>
                <a:gd name="T13" fmla="*/ 88 h 176"/>
                <a:gd name="T14" fmla="*/ 88 w 176"/>
                <a:gd name="T15" fmla="*/ 0 h 176"/>
                <a:gd name="T16" fmla="*/ 176 w 176"/>
                <a:gd name="T17" fmla="*/ 88 h 176"/>
                <a:gd name="T18" fmla="*/ 88 w 176"/>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5"/>
                  </a:moveTo>
                  <a:cubicBezTo>
                    <a:pt x="48" y="15"/>
                    <a:pt x="15" y="48"/>
                    <a:pt x="15" y="88"/>
                  </a:cubicBezTo>
                  <a:cubicBezTo>
                    <a:pt x="15" y="128"/>
                    <a:pt x="48" y="161"/>
                    <a:pt x="88" y="161"/>
                  </a:cubicBezTo>
                  <a:cubicBezTo>
                    <a:pt x="128" y="161"/>
                    <a:pt x="161" y="128"/>
                    <a:pt x="161" y="88"/>
                  </a:cubicBezTo>
                  <a:cubicBezTo>
                    <a:pt x="161" y="48"/>
                    <a:pt x="128" y="15"/>
                    <a:pt x="88" y="15"/>
                  </a:cubicBezTo>
                  <a:close/>
                  <a:moveTo>
                    <a:pt x="88" y="176"/>
                  </a:moveTo>
                  <a:cubicBezTo>
                    <a:pt x="40" y="176"/>
                    <a:pt x="0" y="137"/>
                    <a:pt x="0" y="88"/>
                  </a:cubicBezTo>
                  <a:cubicBezTo>
                    <a:pt x="0" y="40"/>
                    <a:pt x="40" y="0"/>
                    <a:pt x="88" y="0"/>
                  </a:cubicBezTo>
                  <a:cubicBezTo>
                    <a:pt x="136" y="0"/>
                    <a:pt x="176" y="40"/>
                    <a:pt x="176" y="88"/>
                  </a:cubicBezTo>
                  <a:cubicBezTo>
                    <a:pt x="176" y="137"/>
                    <a:pt x="136" y="176"/>
                    <a:pt x="88" y="176"/>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578">
              <a:extLst>
                <a:ext uri="{FF2B5EF4-FFF2-40B4-BE49-F238E27FC236}">
                  <a16:creationId xmlns:a16="http://schemas.microsoft.com/office/drawing/2014/main" id="{DFCA6CAE-F3A2-4030-8F68-F446933DA4BE}"/>
                </a:ext>
              </a:extLst>
            </p:cNvPr>
            <p:cNvSpPr>
              <a:spLocks/>
            </p:cNvSpPr>
            <p:nvPr/>
          </p:nvSpPr>
          <p:spPr bwMode="auto">
            <a:xfrm>
              <a:off x="5915026" y="2797175"/>
              <a:ext cx="52388" cy="66675"/>
            </a:xfrm>
            <a:custGeom>
              <a:avLst/>
              <a:gdLst>
                <a:gd name="T0" fmla="*/ 34 w 56"/>
                <a:gd name="T1" fmla="*/ 72 h 72"/>
                <a:gd name="T2" fmla="*/ 22 w 56"/>
                <a:gd name="T3" fmla="*/ 72 h 72"/>
                <a:gd name="T4" fmla="*/ 0 w 56"/>
                <a:gd name="T5" fmla="*/ 51 h 72"/>
                <a:gd name="T6" fmla="*/ 7 w 56"/>
                <a:gd name="T7" fmla="*/ 43 h 72"/>
                <a:gd name="T8" fmla="*/ 15 w 56"/>
                <a:gd name="T9" fmla="*/ 51 h 72"/>
                <a:gd name="T10" fmla="*/ 22 w 56"/>
                <a:gd name="T11" fmla="*/ 58 h 72"/>
                <a:gd name="T12" fmla="*/ 34 w 56"/>
                <a:gd name="T13" fmla="*/ 58 h 72"/>
                <a:gd name="T14" fmla="*/ 41 w 56"/>
                <a:gd name="T15" fmla="*/ 51 h 72"/>
                <a:gd name="T16" fmla="*/ 34 w 56"/>
                <a:gd name="T17" fmla="*/ 43 h 72"/>
                <a:gd name="T18" fmla="*/ 22 w 56"/>
                <a:gd name="T19" fmla="*/ 43 h 72"/>
                <a:gd name="T20" fmla="*/ 0 w 56"/>
                <a:gd name="T21" fmla="*/ 22 h 72"/>
                <a:gd name="T22" fmla="*/ 22 w 56"/>
                <a:gd name="T23" fmla="*/ 0 h 72"/>
                <a:gd name="T24" fmla="*/ 34 w 56"/>
                <a:gd name="T25" fmla="*/ 0 h 72"/>
                <a:gd name="T26" fmla="*/ 56 w 56"/>
                <a:gd name="T27" fmla="*/ 22 h 72"/>
                <a:gd name="T28" fmla="*/ 48 w 56"/>
                <a:gd name="T29" fmla="*/ 29 h 72"/>
                <a:gd name="T30" fmla="*/ 41 w 56"/>
                <a:gd name="T31" fmla="*/ 22 h 72"/>
                <a:gd name="T32" fmla="*/ 34 w 56"/>
                <a:gd name="T33" fmla="*/ 15 h 72"/>
                <a:gd name="T34" fmla="*/ 22 w 56"/>
                <a:gd name="T35" fmla="*/ 15 h 72"/>
                <a:gd name="T36" fmla="*/ 15 w 56"/>
                <a:gd name="T37" fmla="*/ 22 h 72"/>
                <a:gd name="T38" fmla="*/ 22 w 56"/>
                <a:gd name="T39" fmla="*/ 29 h 72"/>
                <a:gd name="T40" fmla="*/ 34 w 56"/>
                <a:gd name="T41" fmla="*/ 29 h 72"/>
                <a:gd name="T42" fmla="*/ 56 w 56"/>
                <a:gd name="T43" fmla="*/ 51 h 72"/>
                <a:gd name="T44" fmla="*/ 34 w 56"/>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72">
                  <a:moveTo>
                    <a:pt x="34" y="72"/>
                  </a:moveTo>
                  <a:lnTo>
                    <a:pt x="22" y="72"/>
                  </a:lnTo>
                  <a:cubicBezTo>
                    <a:pt x="10" y="72"/>
                    <a:pt x="0" y="63"/>
                    <a:pt x="0" y="51"/>
                  </a:cubicBezTo>
                  <a:cubicBezTo>
                    <a:pt x="0" y="47"/>
                    <a:pt x="3" y="43"/>
                    <a:pt x="7" y="43"/>
                  </a:cubicBezTo>
                  <a:cubicBezTo>
                    <a:pt x="12" y="43"/>
                    <a:pt x="15" y="47"/>
                    <a:pt x="15" y="51"/>
                  </a:cubicBezTo>
                  <a:cubicBezTo>
                    <a:pt x="15" y="54"/>
                    <a:pt x="18" y="58"/>
                    <a:pt x="22" y="58"/>
                  </a:cubicBezTo>
                  <a:lnTo>
                    <a:pt x="34" y="58"/>
                  </a:lnTo>
                  <a:cubicBezTo>
                    <a:pt x="38" y="58"/>
                    <a:pt x="41" y="54"/>
                    <a:pt x="41" y="51"/>
                  </a:cubicBezTo>
                  <a:cubicBezTo>
                    <a:pt x="41" y="47"/>
                    <a:pt x="38" y="43"/>
                    <a:pt x="34" y="43"/>
                  </a:cubicBezTo>
                  <a:lnTo>
                    <a:pt x="22" y="43"/>
                  </a:lnTo>
                  <a:cubicBezTo>
                    <a:pt x="10" y="43"/>
                    <a:pt x="0" y="34"/>
                    <a:pt x="0" y="22"/>
                  </a:cubicBezTo>
                  <a:cubicBezTo>
                    <a:pt x="0" y="10"/>
                    <a:pt x="10" y="0"/>
                    <a:pt x="22" y="0"/>
                  </a:cubicBezTo>
                  <a:lnTo>
                    <a:pt x="34" y="0"/>
                  </a:lnTo>
                  <a:cubicBezTo>
                    <a:pt x="46" y="0"/>
                    <a:pt x="56" y="10"/>
                    <a:pt x="56" y="22"/>
                  </a:cubicBezTo>
                  <a:cubicBezTo>
                    <a:pt x="56" y="26"/>
                    <a:pt x="52" y="29"/>
                    <a:pt x="48" y="29"/>
                  </a:cubicBezTo>
                  <a:cubicBezTo>
                    <a:pt x="44" y="29"/>
                    <a:pt x="41" y="26"/>
                    <a:pt x="41" y="22"/>
                  </a:cubicBezTo>
                  <a:cubicBezTo>
                    <a:pt x="41" y="18"/>
                    <a:pt x="38" y="15"/>
                    <a:pt x="34" y="15"/>
                  </a:cubicBezTo>
                  <a:lnTo>
                    <a:pt x="22" y="15"/>
                  </a:lnTo>
                  <a:cubicBezTo>
                    <a:pt x="18" y="15"/>
                    <a:pt x="15" y="18"/>
                    <a:pt x="15" y="22"/>
                  </a:cubicBezTo>
                  <a:cubicBezTo>
                    <a:pt x="15" y="26"/>
                    <a:pt x="18" y="29"/>
                    <a:pt x="22" y="29"/>
                  </a:cubicBezTo>
                  <a:lnTo>
                    <a:pt x="34" y="29"/>
                  </a:lnTo>
                  <a:cubicBezTo>
                    <a:pt x="46" y="29"/>
                    <a:pt x="56" y="39"/>
                    <a:pt x="56" y="51"/>
                  </a:cubicBezTo>
                  <a:cubicBezTo>
                    <a:pt x="56" y="63"/>
                    <a:pt x="46" y="72"/>
                    <a:pt x="34" y="72"/>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579">
              <a:extLst>
                <a:ext uri="{FF2B5EF4-FFF2-40B4-BE49-F238E27FC236}">
                  <a16:creationId xmlns:a16="http://schemas.microsoft.com/office/drawing/2014/main" id="{931F2830-6397-44D1-9667-CFD9092F8D14}"/>
                </a:ext>
              </a:extLst>
            </p:cNvPr>
            <p:cNvSpPr>
              <a:spLocks/>
            </p:cNvSpPr>
            <p:nvPr/>
          </p:nvSpPr>
          <p:spPr bwMode="auto">
            <a:xfrm>
              <a:off x="5935664" y="2786063"/>
              <a:ext cx="12700" cy="25400"/>
            </a:xfrm>
            <a:custGeom>
              <a:avLst/>
              <a:gdLst>
                <a:gd name="T0" fmla="*/ 7 w 14"/>
                <a:gd name="T1" fmla="*/ 28 h 28"/>
                <a:gd name="T2" fmla="*/ 0 w 14"/>
                <a:gd name="T3" fmla="*/ 20 h 28"/>
                <a:gd name="T4" fmla="*/ 0 w 14"/>
                <a:gd name="T5" fmla="*/ 7 h 28"/>
                <a:gd name="T6" fmla="*/ 7 w 14"/>
                <a:gd name="T7" fmla="*/ 0 h 28"/>
                <a:gd name="T8" fmla="*/ 14 w 14"/>
                <a:gd name="T9" fmla="*/ 7 h 28"/>
                <a:gd name="T10" fmla="*/ 14 w 14"/>
                <a:gd name="T11" fmla="*/ 20 h 28"/>
                <a:gd name="T12" fmla="*/ 7 w 1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4" h="28">
                  <a:moveTo>
                    <a:pt x="7" y="28"/>
                  </a:moveTo>
                  <a:cubicBezTo>
                    <a:pt x="3" y="28"/>
                    <a:pt x="0" y="24"/>
                    <a:pt x="0" y="20"/>
                  </a:cubicBezTo>
                  <a:lnTo>
                    <a:pt x="0" y="7"/>
                  </a:lnTo>
                  <a:cubicBezTo>
                    <a:pt x="0" y="3"/>
                    <a:pt x="3" y="0"/>
                    <a:pt x="7" y="0"/>
                  </a:cubicBezTo>
                  <a:cubicBezTo>
                    <a:pt x="11" y="0"/>
                    <a:pt x="14" y="3"/>
                    <a:pt x="14" y="7"/>
                  </a:cubicBezTo>
                  <a:lnTo>
                    <a:pt x="14" y="20"/>
                  </a:lnTo>
                  <a:cubicBezTo>
                    <a:pt x="14" y="24"/>
                    <a:pt x="11" y="28"/>
                    <a:pt x="7" y="28"/>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580">
              <a:extLst>
                <a:ext uri="{FF2B5EF4-FFF2-40B4-BE49-F238E27FC236}">
                  <a16:creationId xmlns:a16="http://schemas.microsoft.com/office/drawing/2014/main" id="{4B23788C-8F51-4AE9-9DE5-7DCB9568F56A}"/>
                </a:ext>
              </a:extLst>
            </p:cNvPr>
            <p:cNvSpPr>
              <a:spLocks/>
            </p:cNvSpPr>
            <p:nvPr/>
          </p:nvSpPr>
          <p:spPr bwMode="auto">
            <a:xfrm>
              <a:off x="5935664" y="2851150"/>
              <a:ext cx="12700" cy="25400"/>
            </a:xfrm>
            <a:custGeom>
              <a:avLst/>
              <a:gdLst>
                <a:gd name="T0" fmla="*/ 7 w 14"/>
                <a:gd name="T1" fmla="*/ 28 h 28"/>
                <a:gd name="T2" fmla="*/ 0 w 14"/>
                <a:gd name="T3" fmla="*/ 20 h 28"/>
                <a:gd name="T4" fmla="*/ 0 w 14"/>
                <a:gd name="T5" fmla="*/ 7 h 28"/>
                <a:gd name="T6" fmla="*/ 7 w 14"/>
                <a:gd name="T7" fmla="*/ 0 h 28"/>
                <a:gd name="T8" fmla="*/ 14 w 14"/>
                <a:gd name="T9" fmla="*/ 7 h 28"/>
                <a:gd name="T10" fmla="*/ 14 w 14"/>
                <a:gd name="T11" fmla="*/ 20 h 28"/>
                <a:gd name="T12" fmla="*/ 7 w 1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4" h="28">
                  <a:moveTo>
                    <a:pt x="7" y="28"/>
                  </a:moveTo>
                  <a:cubicBezTo>
                    <a:pt x="3" y="28"/>
                    <a:pt x="0" y="24"/>
                    <a:pt x="0" y="20"/>
                  </a:cubicBezTo>
                  <a:lnTo>
                    <a:pt x="0" y="7"/>
                  </a:lnTo>
                  <a:cubicBezTo>
                    <a:pt x="0" y="3"/>
                    <a:pt x="3" y="0"/>
                    <a:pt x="7" y="0"/>
                  </a:cubicBezTo>
                  <a:cubicBezTo>
                    <a:pt x="11" y="0"/>
                    <a:pt x="14" y="3"/>
                    <a:pt x="14" y="7"/>
                  </a:cubicBezTo>
                  <a:lnTo>
                    <a:pt x="14" y="20"/>
                  </a:lnTo>
                  <a:cubicBezTo>
                    <a:pt x="14" y="24"/>
                    <a:pt x="11" y="28"/>
                    <a:pt x="7" y="28"/>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6" name="Confrontation" descr="{&quot;Key&quot;:&quot;POWER_USER_SHAPE_ICON&quot;,&quot;Value&quot;:&quot;POWER_USER_SHAPE_ICON_STYLE_1&quot;}">
            <a:extLst>
              <a:ext uri="{FF2B5EF4-FFF2-40B4-BE49-F238E27FC236}">
                <a16:creationId xmlns:a16="http://schemas.microsoft.com/office/drawing/2014/main" id="{17C3CBD2-63C8-40C0-8E31-08D333246C82}"/>
              </a:ext>
            </a:extLst>
          </p:cNvPr>
          <p:cNvGrpSpPr>
            <a:grpSpLocks noChangeAspect="1"/>
          </p:cNvGrpSpPr>
          <p:nvPr>
            <p:custDataLst>
              <p:tags r:id="rId3"/>
            </p:custDataLst>
          </p:nvPr>
        </p:nvGrpSpPr>
        <p:grpSpPr>
          <a:xfrm>
            <a:off x="7333057" y="1530582"/>
            <a:ext cx="576857" cy="542925"/>
            <a:chOff x="6764338" y="5940425"/>
            <a:chExt cx="782637" cy="736601"/>
          </a:xfrm>
          <a:solidFill>
            <a:srgbClr val="1BAE8F"/>
          </a:solidFill>
        </p:grpSpPr>
        <p:sp>
          <p:nvSpPr>
            <p:cNvPr id="67" name="Freeform 31">
              <a:extLst>
                <a:ext uri="{FF2B5EF4-FFF2-40B4-BE49-F238E27FC236}">
                  <a16:creationId xmlns:a16="http://schemas.microsoft.com/office/drawing/2014/main" id="{8F487856-55FC-40B0-BB07-D7DB458077C4}"/>
                </a:ext>
              </a:extLst>
            </p:cNvPr>
            <p:cNvSpPr>
              <a:spLocks/>
            </p:cNvSpPr>
            <p:nvPr/>
          </p:nvSpPr>
          <p:spPr bwMode="auto">
            <a:xfrm>
              <a:off x="6935788" y="6016625"/>
              <a:ext cx="95250" cy="112713"/>
            </a:xfrm>
            <a:custGeom>
              <a:avLst/>
              <a:gdLst>
                <a:gd name="T0" fmla="*/ 112 w 123"/>
                <a:gd name="T1" fmla="*/ 141 h 147"/>
                <a:gd name="T2" fmla="*/ 119 w 123"/>
                <a:gd name="T3" fmla="*/ 119 h 147"/>
                <a:gd name="T4" fmla="*/ 47 w 123"/>
                <a:gd name="T5" fmla="*/ 14 h 147"/>
                <a:gd name="T6" fmla="*/ 13 w 123"/>
                <a:gd name="T7" fmla="*/ 9 h 147"/>
                <a:gd name="T8" fmla="*/ 8 w 123"/>
                <a:gd name="T9" fmla="*/ 43 h 147"/>
                <a:gd name="T10" fmla="*/ 89 w 123"/>
                <a:gd name="T11" fmla="*/ 141 h 147"/>
                <a:gd name="T12" fmla="*/ 112 w 123"/>
                <a:gd name="T13" fmla="*/ 141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112" y="141"/>
                  </a:moveTo>
                  <a:cubicBezTo>
                    <a:pt x="120" y="135"/>
                    <a:pt x="123" y="125"/>
                    <a:pt x="119" y="119"/>
                  </a:cubicBezTo>
                  <a:lnTo>
                    <a:pt x="47" y="14"/>
                  </a:lnTo>
                  <a:cubicBezTo>
                    <a:pt x="40" y="3"/>
                    <a:pt x="25" y="0"/>
                    <a:pt x="13" y="9"/>
                  </a:cubicBezTo>
                  <a:cubicBezTo>
                    <a:pt x="2" y="17"/>
                    <a:pt x="0" y="33"/>
                    <a:pt x="8" y="43"/>
                  </a:cubicBezTo>
                  <a:lnTo>
                    <a:pt x="89" y="141"/>
                  </a:lnTo>
                  <a:cubicBezTo>
                    <a:pt x="94" y="147"/>
                    <a:pt x="104" y="146"/>
                    <a:pt x="112" y="141"/>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32">
              <a:extLst>
                <a:ext uri="{FF2B5EF4-FFF2-40B4-BE49-F238E27FC236}">
                  <a16:creationId xmlns:a16="http://schemas.microsoft.com/office/drawing/2014/main" id="{3F7A069A-3501-4AA8-A2FE-8200441D898B}"/>
                </a:ext>
              </a:extLst>
            </p:cNvPr>
            <p:cNvSpPr>
              <a:spLocks/>
            </p:cNvSpPr>
            <p:nvPr/>
          </p:nvSpPr>
          <p:spPr bwMode="auto">
            <a:xfrm>
              <a:off x="7065963" y="5962650"/>
              <a:ext cx="46038" cy="127000"/>
            </a:xfrm>
            <a:custGeom>
              <a:avLst/>
              <a:gdLst>
                <a:gd name="T0" fmla="*/ 24 w 60"/>
                <a:gd name="T1" fmla="*/ 1 h 166"/>
                <a:gd name="T2" fmla="*/ 3 w 60"/>
                <a:gd name="T3" fmla="*/ 28 h 166"/>
                <a:gd name="T4" fmla="*/ 23 w 60"/>
                <a:gd name="T5" fmla="*/ 154 h 166"/>
                <a:gd name="T6" fmla="*/ 42 w 60"/>
                <a:gd name="T7" fmla="*/ 165 h 166"/>
                <a:gd name="T8" fmla="*/ 59 w 60"/>
                <a:gd name="T9" fmla="*/ 150 h 166"/>
                <a:gd name="T10" fmla="*/ 51 w 60"/>
                <a:gd name="T11" fmla="*/ 23 h 166"/>
                <a:gd name="T12" fmla="*/ 24 w 60"/>
                <a:gd name="T13" fmla="*/ 1 h 166"/>
              </a:gdLst>
              <a:ahLst/>
              <a:cxnLst>
                <a:cxn ang="0">
                  <a:pos x="T0" y="T1"/>
                </a:cxn>
                <a:cxn ang="0">
                  <a:pos x="T2" y="T3"/>
                </a:cxn>
                <a:cxn ang="0">
                  <a:pos x="T4" y="T5"/>
                </a:cxn>
                <a:cxn ang="0">
                  <a:pos x="T6" y="T7"/>
                </a:cxn>
                <a:cxn ang="0">
                  <a:pos x="T8" y="T9"/>
                </a:cxn>
                <a:cxn ang="0">
                  <a:pos x="T10" y="T11"/>
                </a:cxn>
                <a:cxn ang="0">
                  <a:pos x="T12" y="T13"/>
                </a:cxn>
              </a:cxnLst>
              <a:rect l="0" t="0" r="r" b="b"/>
              <a:pathLst>
                <a:path w="60" h="166">
                  <a:moveTo>
                    <a:pt x="24" y="1"/>
                  </a:moveTo>
                  <a:cubicBezTo>
                    <a:pt x="10" y="3"/>
                    <a:pt x="0" y="15"/>
                    <a:pt x="3" y="28"/>
                  </a:cubicBezTo>
                  <a:lnTo>
                    <a:pt x="23" y="154"/>
                  </a:lnTo>
                  <a:cubicBezTo>
                    <a:pt x="24" y="161"/>
                    <a:pt x="33" y="166"/>
                    <a:pt x="42" y="165"/>
                  </a:cubicBezTo>
                  <a:cubicBezTo>
                    <a:pt x="52" y="164"/>
                    <a:pt x="60" y="157"/>
                    <a:pt x="59" y="150"/>
                  </a:cubicBezTo>
                  <a:lnTo>
                    <a:pt x="51" y="23"/>
                  </a:lnTo>
                  <a:cubicBezTo>
                    <a:pt x="50" y="10"/>
                    <a:pt x="38" y="0"/>
                    <a:pt x="24" y="1"/>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33">
              <a:extLst>
                <a:ext uri="{FF2B5EF4-FFF2-40B4-BE49-F238E27FC236}">
                  <a16:creationId xmlns:a16="http://schemas.microsoft.com/office/drawing/2014/main" id="{E9BE170E-4F1A-499C-823B-31EDDEFCF8B0}"/>
                </a:ext>
              </a:extLst>
            </p:cNvPr>
            <p:cNvSpPr>
              <a:spLocks/>
            </p:cNvSpPr>
            <p:nvPr/>
          </p:nvSpPr>
          <p:spPr bwMode="auto">
            <a:xfrm>
              <a:off x="6845300" y="6126163"/>
              <a:ext cx="123825" cy="69850"/>
            </a:xfrm>
            <a:custGeom>
              <a:avLst/>
              <a:gdLst>
                <a:gd name="T0" fmla="*/ 35 w 162"/>
                <a:gd name="T1" fmla="*/ 5 h 91"/>
                <a:gd name="T2" fmla="*/ 4 w 162"/>
                <a:gd name="T3" fmla="*/ 20 h 91"/>
                <a:gd name="T4" fmla="*/ 19 w 162"/>
                <a:gd name="T5" fmla="*/ 51 h 91"/>
                <a:gd name="T6" fmla="*/ 141 w 162"/>
                <a:gd name="T7" fmla="*/ 89 h 91"/>
                <a:gd name="T8" fmla="*/ 159 w 162"/>
                <a:gd name="T9" fmla="*/ 76 h 91"/>
                <a:gd name="T10" fmla="*/ 153 w 162"/>
                <a:gd name="T11" fmla="*/ 54 h 91"/>
                <a:gd name="T12" fmla="*/ 35 w 162"/>
                <a:gd name="T13" fmla="*/ 5 h 91"/>
              </a:gdLst>
              <a:ahLst/>
              <a:cxnLst>
                <a:cxn ang="0">
                  <a:pos x="T0" y="T1"/>
                </a:cxn>
                <a:cxn ang="0">
                  <a:pos x="T2" y="T3"/>
                </a:cxn>
                <a:cxn ang="0">
                  <a:pos x="T4" y="T5"/>
                </a:cxn>
                <a:cxn ang="0">
                  <a:pos x="T6" y="T7"/>
                </a:cxn>
                <a:cxn ang="0">
                  <a:pos x="T8" y="T9"/>
                </a:cxn>
                <a:cxn ang="0">
                  <a:pos x="T10" y="T11"/>
                </a:cxn>
                <a:cxn ang="0">
                  <a:pos x="T12" y="T13"/>
                </a:cxn>
              </a:cxnLst>
              <a:rect l="0" t="0" r="r" b="b"/>
              <a:pathLst>
                <a:path w="162" h="91">
                  <a:moveTo>
                    <a:pt x="35" y="5"/>
                  </a:moveTo>
                  <a:cubicBezTo>
                    <a:pt x="24" y="0"/>
                    <a:pt x="9" y="6"/>
                    <a:pt x="4" y="20"/>
                  </a:cubicBezTo>
                  <a:cubicBezTo>
                    <a:pt x="0" y="33"/>
                    <a:pt x="6" y="47"/>
                    <a:pt x="19" y="51"/>
                  </a:cubicBezTo>
                  <a:lnTo>
                    <a:pt x="141" y="89"/>
                  </a:lnTo>
                  <a:cubicBezTo>
                    <a:pt x="148" y="91"/>
                    <a:pt x="156" y="85"/>
                    <a:pt x="159" y="76"/>
                  </a:cubicBezTo>
                  <a:cubicBezTo>
                    <a:pt x="162" y="67"/>
                    <a:pt x="160" y="57"/>
                    <a:pt x="153" y="54"/>
                  </a:cubicBezTo>
                  <a:lnTo>
                    <a:pt x="35" y="5"/>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34">
              <a:extLst>
                <a:ext uri="{FF2B5EF4-FFF2-40B4-BE49-F238E27FC236}">
                  <a16:creationId xmlns:a16="http://schemas.microsoft.com/office/drawing/2014/main" id="{A7D13443-3B0F-413A-9D0C-980631B0F4FE}"/>
                </a:ext>
              </a:extLst>
            </p:cNvPr>
            <p:cNvSpPr>
              <a:spLocks/>
            </p:cNvSpPr>
            <p:nvPr/>
          </p:nvSpPr>
          <p:spPr bwMode="auto">
            <a:xfrm>
              <a:off x="7281863" y="6475413"/>
              <a:ext cx="93663" cy="112713"/>
            </a:xfrm>
            <a:custGeom>
              <a:avLst/>
              <a:gdLst>
                <a:gd name="T0" fmla="*/ 34 w 123"/>
                <a:gd name="T1" fmla="*/ 5 h 147"/>
                <a:gd name="T2" fmla="*/ 12 w 123"/>
                <a:gd name="T3" fmla="*/ 6 h 147"/>
                <a:gd name="T4" fmla="*/ 4 w 123"/>
                <a:gd name="T5" fmla="*/ 28 h 147"/>
                <a:gd name="T6" fmla="*/ 76 w 123"/>
                <a:gd name="T7" fmla="*/ 133 h 147"/>
                <a:gd name="T8" fmla="*/ 110 w 123"/>
                <a:gd name="T9" fmla="*/ 138 h 147"/>
                <a:gd name="T10" fmla="*/ 115 w 123"/>
                <a:gd name="T11" fmla="*/ 104 h 147"/>
                <a:gd name="T12" fmla="*/ 34 w 123"/>
                <a:gd name="T13" fmla="*/ 5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34" y="5"/>
                  </a:moveTo>
                  <a:cubicBezTo>
                    <a:pt x="29" y="0"/>
                    <a:pt x="19" y="1"/>
                    <a:pt x="12" y="6"/>
                  </a:cubicBezTo>
                  <a:cubicBezTo>
                    <a:pt x="4" y="12"/>
                    <a:pt x="0" y="22"/>
                    <a:pt x="4" y="28"/>
                  </a:cubicBezTo>
                  <a:lnTo>
                    <a:pt x="76" y="133"/>
                  </a:lnTo>
                  <a:cubicBezTo>
                    <a:pt x="83" y="144"/>
                    <a:pt x="99" y="147"/>
                    <a:pt x="110" y="138"/>
                  </a:cubicBezTo>
                  <a:cubicBezTo>
                    <a:pt x="121" y="130"/>
                    <a:pt x="123" y="114"/>
                    <a:pt x="115" y="104"/>
                  </a:cubicBezTo>
                  <a:lnTo>
                    <a:pt x="34" y="5"/>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35">
              <a:extLst>
                <a:ext uri="{FF2B5EF4-FFF2-40B4-BE49-F238E27FC236}">
                  <a16:creationId xmlns:a16="http://schemas.microsoft.com/office/drawing/2014/main" id="{09B81069-EEDA-4904-A1D1-5DD800A14558}"/>
                </a:ext>
              </a:extLst>
            </p:cNvPr>
            <p:cNvSpPr>
              <a:spLocks/>
            </p:cNvSpPr>
            <p:nvPr/>
          </p:nvSpPr>
          <p:spPr bwMode="auto">
            <a:xfrm>
              <a:off x="7200900" y="6515100"/>
              <a:ext cx="44450" cy="127000"/>
            </a:xfrm>
            <a:custGeom>
              <a:avLst/>
              <a:gdLst>
                <a:gd name="T0" fmla="*/ 37 w 59"/>
                <a:gd name="T1" fmla="*/ 12 h 166"/>
                <a:gd name="T2" fmla="*/ 17 w 59"/>
                <a:gd name="T3" fmla="*/ 1 h 166"/>
                <a:gd name="T4" fmla="*/ 0 w 59"/>
                <a:gd name="T5" fmla="*/ 16 h 166"/>
                <a:gd name="T6" fmla="*/ 9 w 59"/>
                <a:gd name="T7" fmla="*/ 143 h 166"/>
                <a:gd name="T8" fmla="*/ 35 w 59"/>
                <a:gd name="T9" fmla="*/ 165 h 166"/>
                <a:gd name="T10" fmla="*/ 57 w 59"/>
                <a:gd name="T11" fmla="*/ 138 h 166"/>
                <a:gd name="T12" fmla="*/ 37 w 59"/>
                <a:gd name="T13" fmla="*/ 12 h 166"/>
              </a:gdLst>
              <a:ahLst/>
              <a:cxnLst>
                <a:cxn ang="0">
                  <a:pos x="T0" y="T1"/>
                </a:cxn>
                <a:cxn ang="0">
                  <a:pos x="T2" y="T3"/>
                </a:cxn>
                <a:cxn ang="0">
                  <a:pos x="T4" y="T5"/>
                </a:cxn>
                <a:cxn ang="0">
                  <a:pos x="T6" y="T7"/>
                </a:cxn>
                <a:cxn ang="0">
                  <a:pos x="T8" y="T9"/>
                </a:cxn>
                <a:cxn ang="0">
                  <a:pos x="T10" y="T11"/>
                </a:cxn>
                <a:cxn ang="0">
                  <a:pos x="T12" y="T13"/>
                </a:cxn>
              </a:cxnLst>
              <a:rect l="0" t="0" r="r" b="b"/>
              <a:pathLst>
                <a:path w="59" h="166">
                  <a:moveTo>
                    <a:pt x="37" y="12"/>
                  </a:moveTo>
                  <a:cubicBezTo>
                    <a:pt x="36" y="5"/>
                    <a:pt x="27" y="0"/>
                    <a:pt x="17" y="1"/>
                  </a:cubicBezTo>
                  <a:cubicBezTo>
                    <a:pt x="7" y="2"/>
                    <a:pt x="0" y="9"/>
                    <a:pt x="0" y="16"/>
                  </a:cubicBezTo>
                  <a:lnTo>
                    <a:pt x="9" y="143"/>
                  </a:lnTo>
                  <a:cubicBezTo>
                    <a:pt x="9" y="156"/>
                    <a:pt x="21" y="166"/>
                    <a:pt x="35" y="165"/>
                  </a:cubicBezTo>
                  <a:cubicBezTo>
                    <a:pt x="50" y="163"/>
                    <a:pt x="59" y="151"/>
                    <a:pt x="57" y="138"/>
                  </a:cubicBezTo>
                  <a:lnTo>
                    <a:pt x="37" y="1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36">
              <a:extLst>
                <a:ext uri="{FF2B5EF4-FFF2-40B4-BE49-F238E27FC236}">
                  <a16:creationId xmlns:a16="http://schemas.microsoft.com/office/drawing/2014/main" id="{F9FB15C4-F631-40A8-8761-F223F961B115}"/>
                </a:ext>
              </a:extLst>
            </p:cNvPr>
            <p:cNvSpPr>
              <a:spLocks/>
            </p:cNvSpPr>
            <p:nvPr/>
          </p:nvSpPr>
          <p:spPr bwMode="auto">
            <a:xfrm>
              <a:off x="7342188" y="6408738"/>
              <a:ext cx="125413" cy="69850"/>
            </a:xfrm>
            <a:custGeom>
              <a:avLst/>
              <a:gdLst>
                <a:gd name="T0" fmla="*/ 144 w 163"/>
                <a:gd name="T1" fmla="*/ 40 h 91"/>
                <a:gd name="T2" fmla="*/ 22 w 163"/>
                <a:gd name="T3" fmla="*/ 2 h 91"/>
                <a:gd name="T4" fmla="*/ 3 w 163"/>
                <a:gd name="T5" fmla="*/ 15 h 91"/>
                <a:gd name="T6" fmla="*/ 9 w 163"/>
                <a:gd name="T7" fmla="*/ 37 h 91"/>
                <a:gd name="T8" fmla="*/ 127 w 163"/>
                <a:gd name="T9" fmla="*/ 86 h 91"/>
                <a:gd name="T10" fmla="*/ 158 w 163"/>
                <a:gd name="T11" fmla="*/ 71 h 91"/>
                <a:gd name="T12" fmla="*/ 144 w 163"/>
                <a:gd name="T13" fmla="*/ 40 h 91"/>
              </a:gdLst>
              <a:ahLst/>
              <a:cxnLst>
                <a:cxn ang="0">
                  <a:pos x="T0" y="T1"/>
                </a:cxn>
                <a:cxn ang="0">
                  <a:pos x="T2" y="T3"/>
                </a:cxn>
                <a:cxn ang="0">
                  <a:pos x="T4" y="T5"/>
                </a:cxn>
                <a:cxn ang="0">
                  <a:pos x="T6" y="T7"/>
                </a:cxn>
                <a:cxn ang="0">
                  <a:pos x="T8" y="T9"/>
                </a:cxn>
                <a:cxn ang="0">
                  <a:pos x="T10" y="T11"/>
                </a:cxn>
                <a:cxn ang="0">
                  <a:pos x="T12" y="T13"/>
                </a:cxn>
              </a:cxnLst>
              <a:rect l="0" t="0" r="r" b="b"/>
              <a:pathLst>
                <a:path w="163" h="91">
                  <a:moveTo>
                    <a:pt x="144" y="40"/>
                  </a:moveTo>
                  <a:lnTo>
                    <a:pt x="22" y="2"/>
                  </a:lnTo>
                  <a:cubicBezTo>
                    <a:pt x="15" y="0"/>
                    <a:pt x="7" y="6"/>
                    <a:pt x="3" y="15"/>
                  </a:cubicBezTo>
                  <a:cubicBezTo>
                    <a:pt x="0" y="24"/>
                    <a:pt x="2" y="34"/>
                    <a:pt x="9" y="37"/>
                  </a:cubicBezTo>
                  <a:lnTo>
                    <a:pt x="127" y="86"/>
                  </a:lnTo>
                  <a:cubicBezTo>
                    <a:pt x="139" y="91"/>
                    <a:pt x="153" y="85"/>
                    <a:pt x="158" y="71"/>
                  </a:cubicBezTo>
                  <a:cubicBezTo>
                    <a:pt x="163" y="58"/>
                    <a:pt x="156" y="44"/>
                    <a:pt x="144" y="40"/>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37">
              <a:extLst>
                <a:ext uri="{FF2B5EF4-FFF2-40B4-BE49-F238E27FC236}">
                  <a16:creationId xmlns:a16="http://schemas.microsoft.com/office/drawing/2014/main" id="{B6590690-32BF-4587-A4DA-33A574D9BFED}"/>
                </a:ext>
              </a:extLst>
            </p:cNvPr>
            <p:cNvSpPr>
              <a:spLocks/>
            </p:cNvSpPr>
            <p:nvPr/>
          </p:nvSpPr>
          <p:spPr bwMode="auto">
            <a:xfrm>
              <a:off x="6764338" y="6221413"/>
              <a:ext cx="433388" cy="455613"/>
            </a:xfrm>
            <a:custGeom>
              <a:avLst/>
              <a:gdLst>
                <a:gd name="T0" fmla="*/ 502 w 568"/>
                <a:gd name="T1" fmla="*/ 285 h 598"/>
                <a:gd name="T2" fmla="*/ 519 w 568"/>
                <a:gd name="T3" fmla="*/ 267 h 598"/>
                <a:gd name="T4" fmla="*/ 519 w 568"/>
                <a:gd name="T5" fmla="*/ 192 h 598"/>
                <a:gd name="T6" fmla="*/ 455 w 568"/>
                <a:gd name="T7" fmla="*/ 184 h 598"/>
                <a:gd name="T8" fmla="*/ 463 w 568"/>
                <a:gd name="T9" fmla="*/ 100 h 598"/>
                <a:gd name="T10" fmla="*/ 393 w 568"/>
                <a:gd name="T11" fmla="*/ 95 h 598"/>
                <a:gd name="T12" fmla="*/ 392 w 568"/>
                <a:gd name="T13" fmla="*/ 21 h 598"/>
                <a:gd name="T14" fmla="*/ 317 w 568"/>
                <a:gd name="T15" fmla="*/ 21 h 598"/>
                <a:gd name="T16" fmla="*/ 205 w 568"/>
                <a:gd name="T17" fmla="*/ 132 h 598"/>
                <a:gd name="T18" fmla="*/ 205 w 568"/>
                <a:gd name="T19" fmla="*/ 69 h 598"/>
                <a:gd name="T20" fmla="*/ 236 w 568"/>
                <a:gd name="T21" fmla="*/ 38 h 598"/>
                <a:gd name="T22" fmla="*/ 112 w 568"/>
                <a:gd name="T23" fmla="*/ 93 h 598"/>
                <a:gd name="T24" fmla="*/ 79 w 568"/>
                <a:gd name="T25" fmla="*/ 311 h 598"/>
                <a:gd name="T26" fmla="*/ 0 w 568"/>
                <a:gd name="T27" fmla="*/ 390 h 598"/>
                <a:gd name="T28" fmla="*/ 209 w 568"/>
                <a:gd name="T29" fmla="*/ 598 h 598"/>
                <a:gd name="T30" fmla="*/ 279 w 568"/>
                <a:gd name="T31" fmla="*/ 528 h 598"/>
                <a:gd name="T32" fmla="*/ 434 w 568"/>
                <a:gd name="T33" fmla="*/ 486 h 598"/>
                <a:gd name="T34" fmla="*/ 548 w 568"/>
                <a:gd name="T35" fmla="*/ 372 h 598"/>
                <a:gd name="T36" fmla="*/ 548 w 568"/>
                <a:gd name="T37" fmla="*/ 299 h 598"/>
                <a:gd name="T38" fmla="*/ 502 w 568"/>
                <a:gd name="T39" fmla="*/ 28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502" y="285"/>
                  </a:moveTo>
                  <a:lnTo>
                    <a:pt x="519" y="267"/>
                  </a:lnTo>
                  <a:cubicBezTo>
                    <a:pt x="539" y="247"/>
                    <a:pt x="539" y="213"/>
                    <a:pt x="519" y="192"/>
                  </a:cubicBezTo>
                  <a:cubicBezTo>
                    <a:pt x="501" y="175"/>
                    <a:pt x="475" y="172"/>
                    <a:pt x="455" y="184"/>
                  </a:cubicBezTo>
                  <a:cubicBezTo>
                    <a:pt x="480" y="158"/>
                    <a:pt x="488" y="125"/>
                    <a:pt x="463" y="100"/>
                  </a:cubicBezTo>
                  <a:cubicBezTo>
                    <a:pt x="444" y="80"/>
                    <a:pt x="414" y="79"/>
                    <a:pt x="393" y="95"/>
                  </a:cubicBezTo>
                  <a:cubicBezTo>
                    <a:pt x="413" y="75"/>
                    <a:pt x="413" y="41"/>
                    <a:pt x="392" y="21"/>
                  </a:cubicBezTo>
                  <a:cubicBezTo>
                    <a:pt x="371" y="0"/>
                    <a:pt x="338" y="0"/>
                    <a:pt x="317" y="21"/>
                  </a:cubicBezTo>
                  <a:lnTo>
                    <a:pt x="205" y="132"/>
                  </a:lnTo>
                  <a:cubicBezTo>
                    <a:pt x="188" y="115"/>
                    <a:pt x="188" y="86"/>
                    <a:pt x="205" y="69"/>
                  </a:cubicBezTo>
                  <a:lnTo>
                    <a:pt x="236" y="38"/>
                  </a:lnTo>
                  <a:cubicBezTo>
                    <a:pt x="182" y="42"/>
                    <a:pt x="125" y="68"/>
                    <a:pt x="112" y="93"/>
                  </a:cubicBezTo>
                  <a:cubicBezTo>
                    <a:pt x="93" y="129"/>
                    <a:pt x="79" y="253"/>
                    <a:pt x="79" y="311"/>
                  </a:cubicBezTo>
                  <a:lnTo>
                    <a:pt x="0" y="390"/>
                  </a:lnTo>
                  <a:lnTo>
                    <a:pt x="209" y="598"/>
                  </a:lnTo>
                  <a:lnTo>
                    <a:pt x="279" y="528"/>
                  </a:lnTo>
                  <a:cubicBezTo>
                    <a:pt x="335" y="545"/>
                    <a:pt x="398" y="522"/>
                    <a:pt x="434" y="486"/>
                  </a:cubicBezTo>
                  <a:lnTo>
                    <a:pt x="548" y="372"/>
                  </a:lnTo>
                  <a:cubicBezTo>
                    <a:pt x="568" y="352"/>
                    <a:pt x="568" y="319"/>
                    <a:pt x="548" y="299"/>
                  </a:cubicBezTo>
                  <a:cubicBezTo>
                    <a:pt x="535" y="286"/>
                    <a:pt x="518" y="282"/>
                    <a:pt x="502" y="285"/>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38">
              <a:extLst>
                <a:ext uri="{FF2B5EF4-FFF2-40B4-BE49-F238E27FC236}">
                  <a16:creationId xmlns:a16="http://schemas.microsoft.com/office/drawing/2014/main" id="{983BDAE5-1CFB-4E6C-83E1-46AA0EF86D6E}"/>
                </a:ext>
              </a:extLst>
            </p:cNvPr>
            <p:cNvSpPr>
              <a:spLocks/>
            </p:cNvSpPr>
            <p:nvPr/>
          </p:nvSpPr>
          <p:spPr bwMode="auto">
            <a:xfrm>
              <a:off x="7115175" y="5940425"/>
              <a:ext cx="431800" cy="455613"/>
            </a:xfrm>
            <a:custGeom>
              <a:avLst/>
              <a:gdLst>
                <a:gd name="T0" fmla="*/ 289 w 568"/>
                <a:gd name="T1" fmla="*/ 70 h 598"/>
                <a:gd name="T2" fmla="*/ 134 w 568"/>
                <a:gd name="T3" fmla="*/ 112 h 598"/>
                <a:gd name="T4" fmla="*/ 21 w 568"/>
                <a:gd name="T5" fmla="*/ 226 h 598"/>
                <a:gd name="T6" fmla="*/ 21 w 568"/>
                <a:gd name="T7" fmla="*/ 299 h 598"/>
                <a:gd name="T8" fmla="*/ 67 w 568"/>
                <a:gd name="T9" fmla="*/ 313 h 598"/>
                <a:gd name="T10" fmla="*/ 50 w 568"/>
                <a:gd name="T11" fmla="*/ 331 h 598"/>
                <a:gd name="T12" fmla="*/ 50 w 568"/>
                <a:gd name="T13" fmla="*/ 406 h 598"/>
                <a:gd name="T14" fmla="*/ 114 w 568"/>
                <a:gd name="T15" fmla="*/ 414 h 598"/>
                <a:gd name="T16" fmla="*/ 105 w 568"/>
                <a:gd name="T17" fmla="*/ 498 h 598"/>
                <a:gd name="T18" fmla="*/ 175 w 568"/>
                <a:gd name="T19" fmla="*/ 503 h 598"/>
                <a:gd name="T20" fmla="*/ 176 w 568"/>
                <a:gd name="T21" fmla="*/ 577 h 598"/>
                <a:gd name="T22" fmla="*/ 252 w 568"/>
                <a:gd name="T23" fmla="*/ 577 h 598"/>
                <a:gd name="T24" fmla="*/ 363 w 568"/>
                <a:gd name="T25" fmla="*/ 465 h 598"/>
                <a:gd name="T26" fmla="*/ 363 w 568"/>
                <a:gd name="T27" fmla="*/ 529 h 598"/>
                <a:gd name="T28" fmla="*/ 332 w 568"/>
                <a:gd name="T29" fmla="*/ 560 h 598"/>
                <a:gd name="T30" fmla="*/ 456 w 568"/>
                <a:gd name="T31" fmla="*/ 505 h 598"/>
                <a:gd name="T32" fmla="*/ 490 w 568"/>
                <a:gd name="T33" fmla="*/ 286 h 598"/>
                <a:gd name="T34" fmla="*/ 568 w 568"/>
                <a:gd name="T35" fmla="*/ 208 h 598"/>
                <a:gd name="T36" fmla="*/ 359 w 568"/>
                <a:gd name="T37" fmla="*/ 0 h 598"/>
                <a:gd name="T38" fmla="*/ 289 w 568"/>
                <a:gd name="T39" fmla="*/ 7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289" y="70"/>
                  </a:moveTo>
                  <a:cubicBezTo>
                    <a:pt x="233" y="53"/>
                    <a:pt x="171" y="76"/>
                    <a:pt x="134" y="112"/>
                  </a:cubicBezTo>
                  <a:lnTo>
                    <a:pt x="21" y="226"/>
                  </a:lnTo>
                  <a:cubicBezTo>
                    <a:pt x="0" y="246"/>
                    <a:pt x="0" y="279"/>
                    <a:pt x="21" y="299"/>
                  </a:cubicBezTo>
                  <a:cubicBezTo>
                    <a:pt x="33" y="312"/>
                    <a:pt x="50" y="316"/>
                    <a:pt x="67" y="313"/>
                  </a:cubicBezTo>
                  <a:lnTo>
                    <a:pt x="50" y="331"/>
                  </a:lnTo>
                  <a:cubicBezTo>
                    <a:pt x="29" y="351"/>
                    <a:pt x="29" y="385"/>
                    <a:pt x="50" y="406"/>
                  </a:cubicBezTo>
                  <a:cubicBezTo>
                    <a:pt x="67" y="423"/>
                    <a:pt x="93" y="426"/>
                    <a:pt x="114" y="414"/>
                  </a:cubicBezTo>
                  <a:cubicBezTo>
                    <a:pt x="88" y="440"/>
                    <a:pt x="80" y="473"/>
                    <a:pt x="105" y="498"/>
                  </a:cubicBezTo>
                  <a:cubicBezTo>
                    <a:pt x="124" y="518"/>
                    <a:pt x="154" y="519"/>
                    <a:pt x="175" y="503"/>
                  </a:cubicBezTo>
                  <a:cubicBezTo>
                    <a:pt x="155" y="523"/>
                    <a:pt x="156" y="556"/>
                    <a:pt x="176" y="577"/>
                  </a:cubicBezTo>
                  <a:cubicBezTo>
                    <a:pt x="197" y="598"/>
                    <a:pt x="230" y="598"/>
                    <a:pt x="252" y="577"/>
                  </a:cubicBezTo>
                  <a:lnTo>
                    <a:pt x="363" y="465"/>
                  </a:lnTo>
                  <a:cubicBezTo>
                    <a:pt x="381" y="483"/>
                    <a:pt x="381" y="512"/>
                    <a:pt x="363" y="529"/>
                  </a:cubicBezTo>
                  <a:lnTo>
                    <a:pt x="332" y="560"/>
                  </a:lnTo>
                  <a:cubicBezTo>
                    <a:pt x="387" y="556"/>
                    <a:pt x="443" y="530"/>
                    <a:pt x="456" y="505"/>
                  </a:cubicBezTo>
                  <a:cubicBezTo>
                    <a:pt x="475" y="469"/>
                    <a:pt x="489" y="345"/>
                    <a:pt x="490" y="286"/>
                  </a:cubicBezTo>
                  <a:lnTo>
                    <a:pt x="568" y="208"/>
                  </a:lnTo>
                  <a:lnTo>
                    <a:pt x="359" y="0"/>
                  </a:lnTo>
                  <a:lnTo>
                    <a:pt x="289" y="7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10" name="Drilling2" descr="{&quot;Key&quot;:&quot;POWER_USER_SHAPE_ICON&quot;,&quot;Value&quot;:&quot;POWER_USER_SHAPE_ICON_STYLE_1&quot;}">
            <a:extLst>
              <a:ext uri="{FF2B5EF4-FFF2-40B4-BE49-F238E27FC236}">
                <a16:creationId xmlns:a16="http://schemas.microsoft.com/office/drawing/2014/main" id="{15FC9586-B035-4F25-A614-BC21194ED10F}"/>
              </a:ext>
            </a:extLst>
          </p:cNvPr>
          <p:cNvGrpSpPr>
            <a:grpSpLocks noChangeAspect="1"/>
          </p:cNvGrpSpPr>
          <p:nvPr>
            <p:custDataLst>
              <p:tags r:id="rId4"/>
            </p:custDataLst>
          </p:nvPr>
        </p:nvGrpSpPr>
        <p:grpSpPr>
          <a:xfrm>
            <a:off x="4243818" y="3833308"/>
            <a:ext cx="686233" cy="545535"/>
            <a:chOff x="7031045" y="3100393"/>
            <a:chExt cx="820738" cy="652463"/>
          </a:xfrm>
          <a:noFill/>
        </p:grpSpPr>
        <p:sp>
          <p:nvSpPr>
            <p:cNvPr id="211" name="Freeform 683">
              <a:extLst>
                <a:ext uri="{FF2B5EF4-FFF2-40B4-BE49-F238E27FC236}">
                  <a16:creationId xmlns:a16="http://schemas.microsoft.com/office/drawing/2014/main" id="{2761B4FB-DA0D-464D-BFF7-781B0DC3A0A4}"/>
                </a:ext>
              </a:extLst>
            </p:cNvPr>
            <p:cNvSpPr>
              <a:spLocks/>
            </p:cNvSpPr>
            <p:nvPr/>
          </p:nvSpPr>
          <p:spPr bwMode="auto">
            <a:xfrm>
              <a:off x="7300920" y="3455993"/>
              <a:ext cx="282575" cy="209550"/>
            </a:xfrm>
            <a:custGeom>
              <a:avLst/>
              <a:gdLst>
                <a:gd name="T0" fmla="*/ 198 w 397"/>
                <a:gd name="T1" fmla="*/ 293 h 293"/>
                <a:gd name="T2" fmla="*/ 397 w 397"/>
                <a:gd name="T3" fmla="*/ 0 h 293"/>
                <a:gd name="T4" fmla="*/ 98 w 397"/>
                <a:gd name="T5" fmla="*/ 0 h 293"/>
                <a:gd name="T6" fmla="*/ 209 w 397"/>
                <a:gd name="T7" fmla="*/ 240 h 293"/>
                <a:gd name="T8" fmla="*/ 211 w 397"/>
                <a:gd name="T9" fmla="*/ 250 h 293"/>
                <a:gd name="T10" fmla="*/ 204 w 397"/>
                <a:gd name="T11" fmla="*/ 254 h 293"/>
                <a:gd name="T12" fmla="*/ 201 w 397"/>
                <a:gd name="T13" fmla="*/ 254 h 293"/>
                <a:gd name="T14" fmla="*/ 51 w 397"/>
                <a:gd name="T15" fmla="*/ 0 h 293"/>
                <a:gd name="T16" fmla="*/ 0 w 397"/>
                <a:gd name="T17" fmla="*/ 0 h 293"/>
                <a:gd name="T18" fmla="*/ 198 w 397"/>
                <a:gd name="T19"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7" h="293">
                  <a:moveTo>
                    <a:pt x="198" y="293"/>
                  </a:moveTo>
                  <a:cubicBezTo>
                    <a:pt x="297" y="293"/>
                    <a:pt x="379" y="117"/>
                    <a:pt x="397" y="0"/>
                  </a:cubicBezTo>
                  <a:lnTo>
                    <a:pt x="98" y="0"/>
                  </a:lnTo>
                  <a:cubicBezTo>
                    <a:pt x="107" y="79"/>
                    <a:pt x="153" y="190"/>
                    <a:pt x="209" y="240"/>
                  </a:cubicBezTo>
                  <a:cubicBezTo>
                    <a:pt x="212" y="242"/>
                    <a:pt x="213" y="247"/>
                    <a:pt x="211" y="250"/>
                  </a:cubicBezTo>
                  <a:cubicBezTo>
                    <a:pt x="209" y="253"/>
                    <a:pt x="207" y="254"/>
                    <a:pt x="204" y="254"/>
                  </a:cubicBezTo>
                  <a:cubicBezTo>
                    <a:pt x="203" y="254"/>
                    <a:pt x="202" y="254"/>
                    <a:pt x="201" y="254"/>
                  </a:cubicBezTo>
                  <a:cubicBezTo>
                    <a:pt x="120" y="232"/>
                    <a:pt x="61" y="88"/>
                    <a:pt x="51" y="0"/>
                  </a:cubicBezTo>
                  <a:lnTo>
                    <a:pt x="0" y="0"/>
                  </a:lnTo>
                  <a:cubicBezTo>
                    <a:pt x="17" y="117"/>
                    <a:pt x="99" y="293"/>
                    <a:pt x="198" y="293"/>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Freeform 684">
              <a:extLst>
                <a:ext uri="{FF2B5EF4-FFF2-40B4-BE49-F238E27FC236}">
                  <a16:creationId xmlns:a16="http://schemas.microsoft.com/office/drawing/2014/main" id="{F65537A3-7FA8-41D7-AE19-C2A64A23F57B}"/>
                </a:ext>
              </a:extLst>
            </p:cNvPr>
            <p:cNvSpPr>
              <a:spLocks/>
            </p:cNvSpPr>
            <p:nvPr/>
          </p:nvSpPr>
          <p:spPr bwMode="auto">
            <a:xfrm>
              <a:off x="7232658" y="3311530"/>
              <a:ext cx="417513" cy="103188"/>
            </a:xfrm>
            <a:custGeom>
              <a:avLst/>
              <a:gdLst>
                <a:gd name="T0" fmla="*/ 588 w 588"/>
                <a:gd name="T1" fmla="*/ 96 h 146"/>
                <a:gd name="T2" fmla="*/ 588 w 588"/>
                <a:gd name="T3" fmla="*/ 0 h 146"/>
                <a:gd name="T4" fmla="*/ 0 w 588"/>
                <a:gd name="T5" fmla="*/ 0 h 146"/>
                <a:gd name="T6" fmla="*/ 0 w 588"/>
                <a:gd name="T7" fmla="*/ 96 h 146"/>
                <a:gd name="T8" fmla="*/ 51 w 588"/>
                <a:gd name="T9" fmla="*/ 146 h 146"/>
                <a:gd name="T10" fmla="*/ 538 w 588"/>
                <a:gd name="T11" fmla="*/ 146 h 146"/>
                <a:gd name="T12" fmla="*/ 588 w 588"/>
                <a:gd name="T13" fmla="*/ 96 h 146"/>
              </a:gdLst>
              <a:ahLst/>
              <a:cxnLst>
                <a:cxn ang="0">
                  <a:pos x="T0" y="T1"/>
                </a:cxn>
                <a:cxn ang="0">
                  <a:pos x="T2" y="T3"/>
                </a:cxn>
                <a:cxn ang="0">
                  <a:pos x="T4" y="T5"/>
                </a:cxn>
                <a:cxn ang="0">
                  <a:pos x="T6" y="T7"/>
                </a:cxn>
                <a:cxn ang="0">
                  <a:pos x="T8" y="T9"/>
                </a:cxn>
                <a:cxn ang="0">
                  <a:pos x="T10" y="T11"/>
                </a:cxn>
                <a:cxn ang="0">
                  <a:pos x="T12" y="T13"/>
                </a:cxn>
              </a:cxnLst>
              <a:rect l="0" t="0" r="r" b="b"/>
              <a:pathLst>
                <a:path w="588" h="146">
                  <a:moveTo>
                    <a:pt x="588" y="96"/>
                  </a:moveTo>
                  <a:lnTo>
                    <a:pt x="588" y="0"/>
                  </a:lnTo>
                  <a:lnTo>
                    <a:pt x="0" y="0"/>
                  </a:lnTo>
                  <a:lnTo>
                    <a:pt x="0" y="96"/>
                  </a:lnTo>
                  <a:cubicBezTo>
                    <a:pt x="0" y="123"/>
                    <a:pt x="23" y="146"/>
                    <a:pt x="51" y="146"/>
                  </a:cubicBezTo>
                  <a:lnTo>
                    <a:pt x="538" y="146"/>
                  </a:lnTo>
                  <a:cubicBezTo>
                    <a:pt x="566" y="146"/>
                    <a:pt x="588" y="123"/>
                    <a:pt x="588" y="96"/>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F0AE9E1A-CDFA-41BD-A4F2-8EB8A0B36174}"/>
                </a:ext>
              </a:extLst>
            </p:cNvPr>
            <p:cNvSpPr>
              <a:spLocks noChangeArrowheads="1"/>
            </p:cNvSpPr>
            <p:nvPr/>
          </p:nvSpPr>
          <p:spPr bwMode="auto">
            <a:xfrm>
              <a:off x="7232658" y="3100393"/>
              <a:ext cx="417513" cy="174625"/>
            </a:xfrm>
            <a:prstGeom prst="rect">
              <a:avLst/>
            </a:prstGeom>
            <a:grpFill/>
            <a:ln w="19050">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Rectangle 213">
              <a:extLst>
                <a:ext uri="{FF2B5EF4-FFF2-40B4-BE49-F238E27FC236}">
                  <a16:creationId xmlns:a16="http://schemas.microsoft.com/office/drawing/2014/main" id="{61E81C8A-3AE6-4D7B-955D-D26B9E356CDA}"/>
                </a:ext>
              </a:extLst>
            </p:cNvPr>
            <p:cNvSpPr>
              <a:spLocks noChangeArrowheads="1"/>
            </p:cNvSpPr>
            <p:nvPr/>
          </p:nvSpPr>
          <p:spPr bwMode="auto">
            <a:xfrm>
              <a:off x="7031045" y="3705231"/>
              <a:ext cx="820738" cy="47625"/>
            </a:xfrm>
            <a:prstGeom prst="rect">
              <a:avLst/>
            </a:prstGeom>
            <a:grpFill/>
            <a:ln w="19050">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Freeform 687">
              <a:extLst>
                <a:ext uri="{FF2B5EF4-FFF2-40B4-BE49-F238E27FC236}">
                  <a16:creationId xmlns:a16="http://schemas.microsoft.com/office/drawing/2014/main" id="{B868D667-2C2E-4C77-8AF8-F156BC58708B}"/>
                </a:ext>
              </a:extLst>
            </p:cNvPr>
            <p:cNvSpPr>
              <a:spLocks/>
            </p:cNvSpPr>
            <p:nvPr/>
          </p:nvSpPr>
          <p:spPr bwMode="auto">
            <a:xfrm>
              <a:off x="7129470" y="3535368"/>
              <a:ext cx="230188" cy="130175"/>
            </a:xfrm>
            <a:custGeom>
              <a:avLst/>
              <a:gdLst>
                <a:gd name="T0" fmla="*/ 145 w 145"/>
                <a:gd name="T1" fmla="*/ 82 h 82"/>
                <a:gd name="T2" fmla="*/ 81 w 145"/>
                <a:gd name="T3" fmla="*/ 0 h 82"/>
                <a:gd name="T4" fmla="*/ 86 w 145"/>
                <a:gd name="T5" fmla="*/ 43 h 82"/>
                <a:gd name="T6" fmla="*/ 3 w 145"/>
                <a:gd name="T7" fmla="*/ 5 h 82"/>
                <a:gd name="T8" fmla="*/ 47 w 145"/>
                <a:gd name="T9" fmla="*/ 65 h 82"/>
                <a:gd name="T10" fmla="*/ 0 w 145"/>
                <a:gd name="T11" fmla="*/ 82 h 82"/>
                <a:gd name="T12" fmla="*/ 145 w 145"/>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145" h="82">
                  <a:moveTo>
                    <a:pt x="145" y="82"/>
                  </a:moveTo>
                  <a:lnTo>
                    <a:pt x="81" y="0"/>
                  </a:lnTo>
                  <a:lnTo>
                    <a:pt x="86" y="43"/>
                  </a:lnTo>
                  <a:lnTo>
                    <a:pt x="3" y="5"/>
                  </a:lnTo>
                  <a:lnTo>
                    <a:pt x="47" y="65"/>
                  </a:lnTo>
                  <a:lnTo>
                    <a:pt x="0" y="82"/>
                  </a:lnTo>
                  <a:lnTo>
                    <a:pt x="145" y="8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Freeform 688">
              <a:extLst>
                <a:ext uri="{FF2B5EF4-FFF2-40B4-BE49-F238E27FC236}">
                  <a16:creationId xmlns:a16="http://schemas.microsoft.com/office/drawing/2014/main" id="{303180D7-F763-41C4-8F3D-C4AE1A3F3B63}"/>
                </a:ext>
              </a:extLst>
            </p:cNvPr>
            <p:cNvSpPr>
              <a:spLocks/>
            </p:cNvSpPr>
            <p:nvPr/>
          </p:nvSpPr>
          <p:spPr bwMode="auto">
            <a:xfrm>
              <a:off x="7523170" y="3535368"/>
              <a:ext cx="230188" cy="130175"/>
            </a:xfrm>
            <a:custGeom>
              <a:avLst/>
              <a:gdLst>
                <a:gd name="T0" fmla="*/ 98 w 145"/>
                <a:gd name="T1" fmla="*/ 65 h 82"/>
                <a:gd name="T2" fmla="*/ 143 w 145"/>
                <a:gd name="T3" fmla="*/ 5 h 82"/>
                <a:gd name="T4" fmla="*/ 59 w 145"/>
                <a:gd name="T5" fmla="*/ 43 h 82"/>
                <a:gd name="T6" fmla="*/ 64 w 145"/>
                <a:gd name="T7" fmla="*/ 0 h 82"/>
                <a:gd name="T8" fmla="*/ 0 w 145"/>
                <a:gd name="T9" fmla="*/ 82 h 82"/>
                <a:gd name="T10" fmla="*/ 145 w 145"/>
                <a:gd name="T11" fmla="*/ 82 h 82"/>
                <a:gd name="T12" fmla="*/ 98 w 145"/>
                <a:gd name="T13" fmla="*/ 65 h 82"/>
              </a:gdLst>
              <a:ahLst/>
              <a:cxnLst>
                <a:cxn ang="0">
                  <a:pos x="T0" y="T1"/>
                </a:cxn>
                <a:cxn ang="0">
                  <a:pos x="T2" y="T3"/>
                </a:cxn>
                <a:cxn ang="0">
                  <a:pos x="T4" y="T5"/>
                </a:cxn>
                <a:cxn ang="0">
                  <a:pos x="T6" y="T7"/>
                </a:cxn>
                <a:cxn ang="0">
                  <a:pos x="T8" y="T9"/>
                </a:cxn>
                <a:cxn ang="0">
                  <a:pos x="T10" y="T11"/>
                </a:cxn>
                <a:cxn ang="0">
                  <a:pos x="T12" y="T13"/>
                </a:cxn>
              </a:cxnLst>
              <a:rect l="0" t="0" r="r" b="b"/>
              <a:pathLst>
                <a:path w="145" h="82">
                  <a:moveTo>
                    <a:pt x="98" y="65"/>
                  </a:moveTo>
                  <a:lnTo>
                    <a:pt x="143" y="5"/>
                  </a:lnTo>
                  <a:lnTo>
                    <a:pt x="59" y="43"/>
                  </a:lnTo>
                  <a:lnTo>
                    <a:pt x="64" y="0"/>
                  </a:lnTo>
                  <a:lnTo>
                    <a:pt x="0" y="82"/>
                  </a:lnTo>
                  <a:lnTo>
                    <a:pt x="145" y="82"/>
                  </a:lnTo>
                  <a:lnTo>
                    <a:pt x="98" y="65"/>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Oval 3271">
              <a:extLst>
                <a:ext uri="{FF2B5EF4-FFF2-40B4-BE49-F238E27FC236}">
                  <a16:creationId xmlns:a16="http://schemas.microsoft.com/office/drawing/2014/main" id="{5742B4DD-9662-44DE-A783-16F0A0FFA8A0}"/>
                </a:ext>
              </a:extLst>
            </p:cNvPr>
            <p:cNvSpPr>
              <a:spLocks noChangeArrowheads="1"/>
            </p:cNvSpPr>
            <p:nvPr/>
          </p:nvSpPr>
          <p:spPr bwMode="auto">
            <a:xfrm>
              <a:off x="7062795" y="3535368"/>
              <a:ext cx="36513" cy="36513"/>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Oval 3272">
              <a:extLst>
                <a:ext uri="{FF2B5EF4-FFF2-40B4-BE49-F238E27FC236}">
                  <a16:creationId xmlns:a16="http://schemas.microsoft.com/office/drawing/2014/main" id="{EB7C81F0-353A-47E5-BA59-72AD3337208E}"/>
                </a:ext>
              </a:extLst>
            </p:cNvPr>
            <p:cNvSpPr>
              <a:spLocks noChangeArrowheads="1"/>
            </p:cNvSpPr>
            <p:nvPr/>
          </p:nvSpPr>
          <p:spPr bwMode="auto">
            <a:xfrm>
              <a:off x="7761296" y="3476631"/>
              <a:ext cx="36513" cy="36513"/>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Oval 3273">
              <a:extLst>
                <a:ext uri="{FF2B5EF4-FFF2-40B4-BE49-F238E27FC236}">
                  <a16:creationId xmlns:a16="http://schemas.microsoft.com/office/drawing/2014/main" id="{EC73CF9D-AA85-4954-A7AA-CBD1F2C55C63}"/>
                </a:ext>
              </a:extLst>
            </p:cNvPr>
            <p:cNvSpPr>
              <a:spLocks noChangeArrowheads="1"/>
            </p:cNvSpPr>
            <p:nvPr/>
          </p:nvSpPr>
          <p:spPr bwMode="auto">
            <a:xfrm>
              <a:off x="7181858" y="3495681"/>
              <a:ext cx="50800" cy="50800"/>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Oval 3274">
              <a:extLst>
                <a:ext uri="{FF2B5EF4-FFF2-40B4-BE49-F238E27FC236}">
                  <a16:creationId xmlns:a16="http://schemas.microsoft.com/office/drawing/2014/main" id="{26FE6C81-D416-4667-9CC7-A39B5358DF49}"/>
                </a:ext>
              </a:extLst>
            </p:cNvPr>
            <p:cNvSpPr>
              <a:spLocks noChangeArrowheads="1"/>
            </p:cNvSpPr>
            <p:nvPr/>
          </p:nvSpPr>
          <p:spPr bwMode="auto">
            <a:xfrm>
              <a:off x="7732721" y="3594106"/>
              <a:ext cx="42863" cy="44450"/>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21" name="Crossroads2" descr="{&quot;Key&quot;:&quot;POWER_USER_SHAPE_ICON&quot;,&quot;Value&quot;:&quot;POWER_USER_SHAPE_ICON_STYLE_1&quot;}">
            <a:extLst>
              <a:ext uri="{FF2B5EF4-FFF2-40B4-BE49-F238E27FC236}">
                <a16:creationId xmlns:a16="http://schemas.microsoft.com/office/drawing/2014/main" id="{CC770658-1962-4E36-B9D9-C65640449DF2}"/>
              </a:ext>
            </a:extLst>
          </p:cNvPr>
          <p:cNvGrpSpPr>
            <a:grpSpLocks noChangeAspect="1"/>
          </p:cNvGrpSpPr>
          <p:nvPr>
            <p:custDataLst>
              <p:tags r:id="rId5"/>
            </p:custDataLst>
          </p:nvPr>
        </p:nvGrpSpPr>
        <p:grpSpPr>
          <a:xfrm>
            <a:off x="1255895" y="3768414"/>
            <a:ext cx="541006" cy="542925"/>
            <a:chOff x="3959225" y="-1365250"/>
            <a:chExt cx="895351" cy="898526"/>
          </a:xfrm>
          <a:solidFill>
            <a:schemeClr val="bg1"/>
          </a:solidFill>
        </p:grpSpPr>
        <p:sp>
          <p:nvSpPr>
            <p:cNvPr id="222" name="Freeform 325">
              <a:extLst>
                <a:ext uri="{FF2B5EF4-FFF2-40B4-BE49-F238E27FC236}">
                  <a16:creationId xmlns:a16="http://schemas.microsoft.com/office/drawing/2014/main" id="{3C725220-278D-4874-A8A1-48875F040EC2}"/>
                </a:ext>
              </a:extLst>
            </p:cNvPr>
            <p:cNvSpPr>
              <a:spLocks/>
            </p:cNvSpPr>
            <p:nvPr/>
          </p:nvSpPr>
          <p:spPr bwMode="auto">
            <a:xfrm>
              <a:off x="3959225" y="-1019175"/>
              <a:ext cx="388938" cy="346075"/>
            </a:xfrm>
            <a:custGeom>
              <a:avLst/>
              <a:gdLst>
                <a:gd name="T0" fmla="*/ 436 w 510"/>
                <a:gd name="T1" fmla="*/ 178 h 455"/>
                <a:gd name="T2" fmla="*/ 448 w 510"/>
                <a:gd name="T3" fmla="*/ 165 h 455"/>
                <a:gd name="T4" fmla="*/ 510 w 510"/>
                <a:gd name="T5" fmla="*/ 165 h 455"/>
                <a:gd name="T6" fmla="*/ 510 w 510"/>
                <a:gd name="T7" fmla="*/ 113 h 455"/>
                <a:gd name="T8" fmla="*/ 225 w 510"/>
                <a:gd name="T9" fmla="*/ 113 h 455"/>
                <a:gd name="T10" fmla="*/ 225 w 510"/>
                <a:gd name="T11" fmla="*/ 14 h 455"/>
                <a:gd name="T12" fmla="*/ 210 w 510"/>
                <a:gd name="T13" fmla="*/ 9 h 455"/>
                <a:gd name="T14" fmla="*/ 6 w 510"/>
                <a:gd name="T15" fmla="*/ 219 h 455"/>
                <a:gd name="T16" fmla="*/ 0 w 510"/>
                <a:gd name="T17" fmla="*/ 227 h 455"/>
                <a:gd name="T18" fmla="*/ 6 w 510"/>
                <a:gd name="T19" fmla="*/ 236 h 455"/>
                <a:gd name="T20" fmla="*/ 210 w 510"/>
                <a:gd name="T21" fmla="*/ 446 h 455"/>
                <a:gd name="T22" fmla="*/ 225 w 510"/>
                <a:gd name="T23" fmla="*/ 441 h 455"/>
                <a:gd name="T24" fmla="*/ 225 w 510"/>
                <a:gd name="T25" fmla="*/ 342 h 455"/>
                <a:gd name="T26" fmla="*/ 510 w 510"/>
                <a:gd name="T27" fmla="*/ 342 h 455"/>
                <a:gd name="T28" fmla="*/ 510 w 510"/>
                <a:gd name="T29" fmla="*/ 290 h 455"/>
                <a:gd name="T30" fmla="*/ 448 w 510"/>
                <a:gd name="T31" fmla="*/ 290 h 455"/>
                <a:gd name="T32" fmla="*/ 436 w 510"/>
                <a:gd name="T33" fmla="*/ 277 h 455"/>
                <a:gd name="T34" fmla="*/ 436 w 510"/>
                <a:gd name="T35" fmla="*/ 227 h 455"/>
                <a:gd name="T36" fmla="*/ 436 w 510"/>
                <a:gd name="T37" fmla="*/ 17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0" h="455">
                  <a:moveTo>
                    <a:pt x="436" y="178"/>
                  </a:moveTo>
                  <a:cubicBezTo>
                    <a:pt x="436" y="171"/>
                    <a:pt x="441" y="165"/>
                    <a:pt x="448" y="165"/>
                  </a:cubicBezTo>
                  <a:lnTo>
                    <a:pt x="510" y="165"/>
                  </a:lnTo>
                  <a:lnTo>
                    <a:pt x="510" y="113"/>
                  </a:lnTo>
                  <a:lnTo>
                    <a:pt x="225" y="113"/>
                  </a:lnTo>
                  <a:lnTo>
                    <a:pt x="225" y="14"/>
                  </a:lnTo>
                  <a:cubicBezTo>
                    <a:pt x="225" y="3"/>
                    <a:pt x="215" y="0"/>
                    <a:pt x="210" y="9"/>
                  </a:cubicBezTo>
                  <a:cubicBezTo>
                    <a:pt x="187" y="62"/>
                    <a:pt x="107" y="159"/>
                    <a:pt x="6" y="219"/>
                  </a:cubicBezTo>
                  <a:cubicBezTo>
                    <a:pt x="3" y="221"/>
                    <a:pt x="0" y="225"/>
                    <a:pt x="0" y="227"/>
                  </a:cubicBezTo>
                  <a:cubicBezTo>
                    <a:pt x="0" y="230"/>
                    <a:pt x="3" y="234"/>
                    <a:pt x="6" y="236"/>
                  </a:cubicBezTo>
                  <a:cubicBezTo>
                    <a:pt x="107" y="296"/>
                    <a:pt x="187" y="393"/>
                    <a:pt x="210" y="446"/>
                  </a:cubicBezTo>
                  <a:cubicBezTo>
                    <a:pt x="215" y="455"/>
                    <a:pt x="225" y="452"/>
                    <a:pt x="225" y="441"/>
                  </a:cubicBezTo>
                  <a:lnTo>
                    <a:pt x="225" y="342"/>
                  </a:lnTo>
                  <a:lnTo>
                    <a:pt x="510" y="342"/>
                  </a:lnTo>
                  <a:lnTo>
                    <a:pt x="510" y="290"/>
                  </a:lnTo>
                  <a:lnTo>
                    <a:pt x="448" y="290"/>
                  </a:lnTo>
                  <a:cubicBezTo>
                    <a:pt x="441" y="290"/>
                    <a:pt x="436" y="284"/>
                    <a:pt x="436" y="277"/>
                  </a:cubicBezTo>
                  <a:lnTo>
                    <a:pt x="436" y="227"/>
                  </a:lnTo>
                  <a:lnTo>
                    <a:pt x="436" y="178"/>
                  </a:lnTo>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326">
              <a:extLst>
                <a:ext uri="{FF2B5EF4-FFF2-40B4-BE49-F238E27FC236}">
                  <a16:creationId xmlns:a16="http://schemas.microsoft.com/office/drawing/2014/main" id="{3073C8D3-ADA8-4514-A51D-FD5CB5031C84}"/>
                </a:ext>
              </a:extLst>
            </p:cNvPr>
            <p:cNvSpPr>
              <a:spLocks/>
            </p:cNvSpPr>
            <p:nvPr/>
          </p:nvSpPr>
          <p:spPr bwMode="auto">
            <a:xfrm>
              <a:off x="4465638" y="-1227137"/>
              <a:ext cx="388938" cy="346075"/>
            </a:xfrm>
            <a:custGeom>
              <a:avLst/>
              <a:gdLst>
                <a:gd name="T0" fmla="*/ 74 w 510"/>
                <a:gd name="T1" fmla="*/ 178 h 455"/>
                <a:gd name="T2" fmla="*/ 61 w 510"/>
                <a:gd name="T3" fmla="*/ 165 h 455"/>
                <a:gd name="T4" fmla="*/ 0 w 510"/>
                <a:gd name="T5" fmla="*/ 165 h 455"/>
                <a:gd name="T6" fmla="*/ 0 w 510"/>
                <a:gd name="T7" fmla="*/ 113 h 455"/>
                <a:gd name="T8" fmla="*/ 285 w 510"/>
                <a:gd name="T9" fmla="*/ 113 h 455"/>
                <a:gd name="T10" fmla="*/ 285 w 510"/>
                <a:gd name="T11" fmla="*/ 14 h 455"/>
                <a:gd name="T12" fmla="*/ 300 w 510"/>
                <a:gd name="T13" fmla="*/ 9 h 455"/>
                <a:gd name="T14" fmla="*/ 504 w 510"/>
                <a:gd name="T15" fmla="*/ 219 h 455"/>
                <a:gd name="T16" fmla="*/ 510 w 510"/>
                <a:gd name="T17" fmla="*/ 228 h 455"/>
                <a:gd name="T18" fmla="*/ 504 w 510"/>
                <a:gd name="T19" fmla="*/ 236 h 455"/>
                <a:gd name="T20" fmla="*/ 300 w 510"/>
                <a:gd name="T21" fmla="*/ 446 h 455"/>
                <a:gd name="T22" fmla="*/ 285 w 510"/>
                <a:gd name="T23" fmla="*/ 441 h 455"/>
                <a:gd name="T24" fmla="*/ 285 w 510"/>
                <a:gd name="T25" fmla="*/ 342 h 455"/>
                <a:gd name="T26" fmla="*/ 0 w 510"/>
                <a:gd name="T27" fmla="*/ 342 h 455"/>
                <a:gd name="T28" fmla="*/ 0 w 510"/>
                <a:gd name="T29" fmla="*/ 290 h 455"/>
                <a:gd name="T30" fmla="*/ 61 w 510"/>
                <a:gd name="T31" fmla="*/ 290 h 455"/>
                <a:gd name="T32" fmla="*/ 74 w 510"/>
                <a:gd name="T33" fmla="*/ 277 h 455"/>
                <a:gd name="T34" fmla="*/ 74 w 510"/>
                <a:gd name="T35" fmla="*/ 228 h 455"/>
                <a:gd name="T36" fmla="*/ 74 w 510"/>
                <a:gd name="T37" fmla="*/ 17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0" h="455">
                  <a:moveTo>
                    <a:pt x="74" y="178"/>
                  </a:moveTo>
                  <a:cubicBezTo>
                    <a:pt x="74" y="171"/>
                    <a:pt x="68" y="165"/>
                    <a:pt x="61" y="165"/>
                  </a:cubicBezTo>
                  <a:lnTo>
                    <a:pt x="0" y="165"/>
                  </a:lnTo>
                  <a:lnTo>
                    <a:pt x="0" y="113"/>
                  </a:lnTo>
                  <a:lnTo>
                    <a:pt x="285" y="113"/>
                  </a:lnTo>
                  <a:lnTo>
                    <a:pt x="285" y="14"/>
                  </a:lnTo>
                  <a:cubicBezTo>
                    <a:pt x="285" y="3"/>
                    <a:pt x="295" y="0"/>
                    <a:pt x="300" y="9"/>
                  </a:cubicBezTo>
                  <a:cubicBezTo>
                    <a:pt x="323" y="62"/>
                    <a:pt x="403" y="159"/>
                    <a:pt x="504" y="219"/>
                  </a:cubicBezTo>
                  <a:cubicBezTo>
                    <a:pt x="507" y="221"/>
                    <a:pt x="510" y="225"/>
                    <a:pt x="510" y="228"/>
                  </a:cubicBezTo>
                  <a:cubicBezTo>
                    <a:pt x="510" y="230"/>
                    <a:pt x="507" y="234"/>
                    <a:pt x="504" y="236"/>
                  </a:cubicBezTo>
                  <a:cubicBezTo>
                    <a:pt x="403" y="296"/>
                    <a:pt x="323" y="393"/>
                    <a:pt x="300" y="446"/>
                  </a:cubicBezTo>
                  <a:cubicBezTo>
                    <a:pt x="295" y="455"/>
                    <a:pt x="285" y="452"/>
                    <a:pt x="285" y="441"/>
                  </a:cubicBezTo>
                  <a:lnTo>
                    <a:pt x="285" y="342"/>
                  </a:lnTo>
                  <a:lnTo>
                    <a:pt x="0" y="342"/>
                  </a:lnTo>
                  <a:lnTo>
                    <a:pt x="0" y="290"/>
                  </a:lnTo>
                  <a:lnTo>
                    <a:pt x="61" y="290"/>
                  </a:lnTo>
                  <a:cubicBezTo>
                    <a:pt x="68" y="290"/>
                    <a:pt x="74" y="284"/>
                    <a:pt x="74" y="277"/>
                  </a:cubicBezTo>
                  <a:lnTo>
                    <a:pt x="74" y="228"/>
                  </a:lnTo>
                  <a:lnTo>
                    <a:pt x="74" y="178"/>
                  </a:lnTo>
                  <a:close/>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Rectangle 327">
              <a:extLst>
                <a:ext uri="{FF2B5EF4-FFF2-40B4-BE49-F238E27FC236}">
                  <a16:creationId xmlns:a16="http://schemas.microsoft.com/office/drawing/2014/main" id="{E3B0AC8A-9556-49E6-A061-3E90B849441B}"/>
                </a:ext>
              </a:extLst>
            </p:cNvPr>
            <p:cNvSpPr>
              <a:spLocks noChangeArrowheads="1"/>
            </p:cNvSpPr>
            <p:nvPr/>
          </p:nvSpPr>
          <p:spPr bwMode="auto">
            <a:xfrm>
              <a:off x="4368800" y="-1141412"/>
              <a:ext cx="76200" cy="531813"/>
            </a:xfrm>
            <a:prstGeom prst="rect">
              <a:avLst/>
            </a:pr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Freeform 328">
              <a:extLst>
                <a:ext uri="{FF2B5EF4-FFF2-40B4-BE49-F238E27FC236}">
                  <a16:creationId xmlns:a16="http://schemas.microsoft.com/office/drawing/2014/main" id="{93BF4FA5-6C42-4E04-81E9-44AB32F324C7}"/>
                </a:ext>
              </a:extLst>
            </p:cNvPr>
            <p:cNvSpPr>
              <a:spLocks/>
            </p:cNvSpPr>
            <p:nvPr/>
          </p:nvSpPr>
          <p:spPr bwMode="auto">
            <a:xfrm>
              <a:off x="4276725" y="-579437"/>
              <a:ext cx="261938" cy="112713"/>
            </a:xfrm>
            <a:custGeom>
              <a:avLst/>
              <a:gdLst>
                <a:gd name="T0" fmla="*/ 26 w 343"/>
                <a:gd name="T1" fmla="*/ 95 h 147"/>
                <a:gd name="T2" fmla="*/ 52 w 343"/>
                <a:gd name="T3" fmla="*/ 95 h 147"/>
                <a:gd name="T4" fmla="*/ 40 w 343"/>
                <a:gd name="T5" fmla="*/ 74 h 147"/>
                <a:gd name="T6" fmla="*/ 67 w 343"/>
                <a:gd name="T7" fmla="*/ 47 h 147"/>
                <a:gd name="T8" fmla="*/ 86 w 343"/>
                <a:gd name="T9" fmla="*/ 47 h 147"/>
                <a:gd name="T10" fmla="*/ 74 w 343"/>
                <a:gd name="T11" fmla="*/ 26 h 147"/>
                <a:gd name="T12" fmla="*/ 100 w 343"/>
                <a:gd name="T13" fmla="*/ 0 h 147"/>
                <a:gd name="T14" fmla="*/ 171 w 343"/>
                <a:gd name="T15" fmla="*/ 0 h 147"/>
                <a:gd name="T16" fmla="*/ 242 w 343"/>
                <a:gd name="T17" fmla="*/ 0 h 147"/>
                <a:gd name="T18" fmla="*/ 268 w 343"/>
                <a:gd name="T19" fmla="*/ 26 h 147"/>
                <a:gd name="T20" fmla="*/ 257 w 343"/>
                <a:gd name="T21" fmla="*/ 47 h 147"/>
                <a:gd name="T22" fmla="*/ 276 w 343"/>
                <a:gd name="T23" fmla="*/ 47 h 147"/>
                <a:gd name="T24" fmla="*/ 302 w 343"/>
                <a:gd name="T25" fmla="*/ 74 h 147"/>
                <a:gd name="T26" fmla="*/ 291 w 343"/>
                <a:gd name="T27" fmla="*/ 95 h 147"/>
                <a:gd name="T28" fmla="*/ 317 w 343"/>
                <a:gd name="T29" fmla="*/ 95 h 147"/>
                <a:gd name="T30" fmla="*/ 343 w 343"/>
                <a:gd name="T31" fmla="*/ 121 h 147"/>
                <a:gd name="T32" fmla="*/ 317 w 343"/>
                <a:gd name="T33" fmla="*/ 147 h 147"/>
                <a:gd name="T34" fmla="*/ 171 w 343"/>
                <a:gd name="T35" fmla="*/ 147 h 147"/>
                <a:gd name="T36" fmla="*/ 26 w 343"/>
                <a:gd name="T37" fmla="*/ 147 h 147"/>
                <a:gd name="T38" fmla="*/ 0 w 343"/>
                <a:gd name="T39" fmla="*/ 121 h 147"/>
                <a:gd name="T40" fmla="*/ 26 w 343"/>
                <a:gd name="T41" fmla="*/ 9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 h="147">
                  <a:moveTo>
                    <a:pt x="26" y="95"/>
                  </a:moveTo>
                  <a:lnTo>
                    <a:pt x="52" y="95"/>
                  </a:lnTo>
                  <a:cubicBezTo>
                    <a:pt x="45" y="90"/>
                    <a:pt x="40" y="83"/>
                    <a:pt x="40" y="74"/>
                  </a:cubicBezTo>
                  <a:cubicBezTo>
                    <a:pt x="40" y="59"/>
                    <a:pt x="52" y="47"/>
                    <a:pt x="67" y="47"/>
                  </a:cubicBezTo>
                  <a:lnTo>
                    <a:pt x="86" y="47"/>
                  </a:lnTo>
                  <a:cubicBezTo>
                    <a:pt x="79" y="43"/>
                    <a:pt x="74" y="35"/>
                    <a:pt x="74" y="26"/>
                  </a:cubicBezTo>
                  <a:cubicBezTo>
                    <a:pt x="74" y="12"/>
                    <a:pt x="86" y="0"/>
                    <a:pt x="100" y="0"/>
                  </a:cubicBezTo>
                  <a:lnTo>
                    <a:pt x="171" y="0"/>
                  </a:lnTo>
                  <a:lnTo>
                    <a:pt x="242" y="0"/>
                  </a:lnTo>
                  <a:cubicBezTo>
                    <a:pt x="257" y="0"/>
                    <a:pt x="268" y="12"/>
                    <a:pt x="268" y="26"/>
                  </a:cubicBezTo>
                  <a:cubicBezTo>
                    <a:pt x="268" y="35"/>
                    <a:pt x="264" y="43"/>
                    <a:pt x="257" y="47"/>
                  </a:cubicBezTo>
                  <a:lnTo>
                    <a:pt x="276" y="47"/>
                  </a:lnTo>
                  <a:cubicBezTo>
                    <a:pt x="291" y="47"/>
                    <a:pt x="302" y="59"/>
                    <a:pt x="302" y="74"/>
                  </a:cubicBezTo>
                  <a:cubicBezTo>
                    <a:pt x="302" y="83"/>
                    <a:pt x="298" y="90"/>
                    <a:pt x="291" y="95"/>
                  </a:cubicBezTo>
                  <a:lnTo>
                    <a:pt x="317" y="95"/>
                  </a:lnTo>
                  <a:cubicBezTo>
                    <a:pt x="331" y="95"/>
                    <a:pt x="343" y="107"/>
                    <a:pt x="343" y="121"/>
                  </a:cubicBezTo>
                  <a:cubicBezTo>
                    <a:pt x="343" y="136"/>
                    <a:pt x="331" y="147"/>
                    <a:pt x="317" y="147"/>
                  </a:cubicBezTo>
                  <a:lnTo>
                    <a:pt x="171" y="147"/>
                  </a:lnTo>
                  <a:lnTo>
                    <a:pt x="26" y="147"/>
                  </a:lnTo>
                  <a:cubicBezTo>
                    <a:pt x="11" y="147"/>
                    <a:pt x="0" y="136"/>
                    <a:pt x="0" y="121"/>
                  </a:cubicBezTo>
                  <a:cubicBezTo>
                    <a:pt x="0" y="107"/>
                    <a:pt x="11" y="95"/>
                    <a:pt x="26" y="95"/>
                  </a:cubicBezTo>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329">
              <a:extLst>
                <a:ext uri="{FF2B5EF4-FFF2-40B4-BE49-F238E27FC236}">
                  <a16:creationId xmlns:a16="http://schemas.microsoft.com/office/drawing/2014/main" id="{8ECB26FB-EDA6-4E12-8AED-8038F68588DD}"/>
                </a:ext>
              </a:extLst>
            </p:cNvPr>
            <p:cNvSpPr>
              <a:spLocks/>
            </p:cNvSpPr>
            <p:nvPr/>
          </p:nvSpPr>
          <p:spPr bwMode="auto">
            <a:xfrm>
              <a:off x="4338638" y="-1365250"/>
              <a:ext cx="138113" cy="188913"/>
            </a:xfrm>
            <a:custGeom>
              <a:avLst/>
              <a:gdLst>
                <a:gd name="T0" fmla="*/ 15 w 181"/>
                <a:gd name="T1" fmla="*/ 213 h 248"/>
                <a:gd name="T2" fmla="*/ 23 w 181"/>
                <a:gd name="T3" fmla="*/ 213 h 248"/>
                <a:gd name="T4" fmla="*/ 13 w 181"/>
                <a:gd name="T5" fmla="*/ 203 h 248"/>
                <a:gd name="T6" fmla="*/ 0 w 181"/>
                <a:gd name="T7" fmla="*/ 156 h 248"/>
                <a:gd name="T8" fmla="*/ 60 w 181"/>
                <a:gd name="T9" fmla="*/ 71 h 248"/>
                <a:gd name="T10" fmla="*/ 78 w 181"/>
                <a:gd name="T11" fmla="*/ 29 h 248"/>
                <a:gd name="T12" fmla="*/ 90 w 181"/>
                <a:gd name="T13" fmla="*/ 0 h 248"/>
                <a:gd name="T14" fmla="*/ 103 w 181"/>
                <a:gd name="T15" fmla="*/ 29 h 248"/>
                <a:gd name="T16" fmla="*/ 121 w 181"/>
                <a:gd name="T17" fmla="*/ 71 h 248"/>
                <a:gd name="T18" fmla="*/ 181 w 181"/>
                <a:gd name="T19" fmla="*/ 156 h 248"/>
                <a:gd name="T20" fmla="*/ 168 w 181"/>
                <a:gd name="T21" fmla="*/ 203 h 248"/>
                <a:gd name="T22" fmla="*/ 158 w 181"/>
                <a:gd name="T23" fmla="*/ 213 h 248"/>
                <a:gd name="T24" fmla="*/ 165 w 181"/>
                <a:gd name="T25" fmla="*/ 213 h 248"/>
                <a:gd name="T26" fmla="*/ 181 w 181"/>
                <a:gd name="T27" fmla="*/ 231 h 248"/>
                <a:gd name="T28" fmla="*/ 165 w 181"/>
                <a:gd name="T29" fmla="*/ 248 h 248"/>
                <a:gd name="T30" fmla="*/ 90 w 181"/>
                <a:gd name="T31" fmla="*/ 248 h 248"/>
                <a:gd name="T32" fmla="*/ 15 w 181"/>
                <a:gd name="T33" fmla="*/ 248 h 248"/>
                <a:gd name="T34" fmla="*/ 0 w 181"/>
                <a:gd name="T35" fmla="*/ 231 h 248"/>
                <a:gd name="T36" fmla="*/ 15 w 181"/>
                <a:gd name="T37" fmla="*/ 21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 h="248">
                  <a:moveTo>
                    <a:pt x="15" y="213"/>
                  </a:moveTo>
                  <a:lnTo>
                    <a:pt x="23" y="213"/>
                  </a:lnTo>
                  <a:cubicBezTo>
                    <a:pt x="19" y="211"/>
                    <a:pt x="16" y="207"/>
                    <a:pt x="13" y="203"/>
                  </a:cubicBezTo>
                  <a:cubicBezTo>
                    <a:pt x="5" y="191"/>
                    <a:pt x="0" y="175"/>
                    <a:pt x="0" y="156"/>
                  </a:cubicBezTo>
                  <a:cubicBezTo>
                    <a:pt x="0" y="93"/>
                    <a:pt x="38" y="91"/>
                    <a:pt x="60" y="71"/>
                  </a:cubicBezTo>
                  <a:cubicBezTo>
                    <a:pt x="72" y="60"/>
                    <a:pt x="78" y="41"/>
                    <a:pt x="78" y="29"/>
                  </a:cubicBezTo>
                  <a:cubicBezTo>
                    <a:pt x="78" y="8"/>
                    <a:pt x="80" y="0"/>
                    <a:pt x="90" y="0"/>
                  </a:cubicBezTo>
                  <a:cubicBezTo>
                    <a:pt x="101" y="0"/>
                    <a:pt x="103" y="8"/>
                    <a:pt x="103" y="29"/>
                  </a:cubicBezTo>
                  <a:cubicBezTo>
                    <a:pt x="103" y="41"/>
                    <a:pt x="108" y="60"/>
                    <a:pt x="121" y="71"/>
                  </a:cubicBezTo>
                  <a:cubicBezTo>
                    <a:pt x="142" y="91"/>
                    <a:pt x="181" y="93"/>
                    <a:pt x="181" y="156"/>
                  </a:cubicBezTo>
                  <a:cubicBezTo>
                    <a:pt x="181" y="175"/>
                    <a:pt x="175" y="191"/>
                    <a:pt x="168" y="203"/>
                  </a:cubicBezTo>
                  <a:cubicBezTo>
                    <a:pt x="165" y="207"/>
                    <a:pt x="161" y="211"/>
                    <a:pt x="158" y="213"/>
                  </a:cubicBezTo>
                  <a:lnTo>
                    <a:pt x="165" y="213"/>
                  </a:lnTo>
                  <a:cubicBezTo>
                    <a:pt x="174" y="213"/>
                    <a:pt x="181" y="221"/>
                    <a:pt x="181" y="231"/>
                  </a:cubicBezTo>
                  <a:cubicBezTo>
                    <a:pt x="181" y="240"/>
                    <a:pt x="174" y="248"/>
                    <a:pt x="165" y="248"/>
                  </a:cubicBezTo>
                  <a:lnTo>
                    <a:pt x="90" y="248"/>
                  </a:lnTo>
                  <a:lnTo>
                    <a:pt x="15" y="248"/>
                  </a:lnTo>
                  <a:cubicBezTo>
                    <a:pt x="7" y="248"/>
                    <a:pt x="0" y="240"/>
                    <a:pt x="0" y="231"/>
                  </a:cubicBezTo>
                  <a:cubicBezTo>
                    <a:pt x="0" y="221"/>
                    <a:pt x="7" y="213"/>
                    <a:pt x="15" y="213"/>
                  </a:cubicBezTo>
                  <a:close/>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27" name="Target10" descr="{&quot;Key&quot;:&quot;POWER_USER_SHAPE_ICON&quot;,&quot;Value&quot;:&quot;POWER_USER_SHAPE_ICON_STYLE_1&quot;}">
            <a:extLst>
              <a:ext uri="{FF2B5EF4-FFF2-40B4-BE49-F238E27FC236}">
                <a16:creationId xmlns:a16="http://schemas.microsoft.com/office/drawing/2014/main" id="{692B38D3-57E9-484D-A139-CF6459AC2E5D}"/>
              </a:ext>
            </a:extLst>
          </p:cNvPr>
          <p:cNvGrpSpPr>
            <a:grpSpLocks noChangeAspect="1"/>
          </p:cNvGrpSpPr>
          <p:nvPr/>
        </p:nvGrpSpPr>
        <p:grpSpPr>
          <a:xfrm>
            <a:off x="1295787" y="1471209"/>
            <a:ext cx="579399" cy="578532"/>
            <a:chOff x="8467764" y="1468438"/>
            <a:chExt cx="579399" cy="578532"/>
          </a:xfrm>
        </p:grpSpPr>
        <p:sp>
          <p:nvSpPr>
            <p:cNvPr id="228" name="Arc 227">
              <a:extLst>
                <a:ext uri="{FF2B5EF4-FFF2-40B4-BE49-F238E27FC236}">
                  <a16:creationId xmlns:a16="http://schemas.microsoft.com/office/drawing/2014/main" id="{64396336-4D33-459F-BA89-49556D07B4FB}"/>
                </a:ext>
              </a:extLst>
            </p:cNvPr>
            <p:cNvSpPr>
              <a:spLocks noChangeAspect="1"/>
            </p:cNvSpPr>
            <p:nvPr/>
          </p:nvSpPr>
          <p:spPr>
            <a:xfrm flipH="1">
              <a:off x="8467764" y="1511339"/>
              <a:ext cx="535631" cy="535631"/>
            </a:xfrm>
            <a:prstGeom prst="arc">
              <a:avLst>
                <a:gd name="adj1" fmla="val 14700753"/>
                <a:gd name="adj2" fmla="val 12223995"/>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Freeform 2594">
              <a:extLst>
                <a:ext uri="{FF2B5EF4-FFF2-40B4-BE49-F238E27FC236}">
                  <a16:creationId xmlns:a16="http://schemas.microsoft.com/office/drawing/2014/main" id="{856C0664-9C09-4787-A0CE-E57EAD9006B2}"/>
                </a:ext>
              </a:extLst>
            </p:cNvPr>
            <p:cNvSpPr>
              <a:spLocks/>
            </p:cNvSpPr>
            <p:nvPr/>
          </p:nvSpPr>
          <p:spPr bwMode="auto">
            <a:xfrm>
              <a:off x="8880475" y="1468438"/>
              <a:ext cx="166688" cy="166688"/>
            </a:xfrm>
            <a:custGeom>
              <a:avLst/>
              <a:gdLst>
                <a:gd name="T0" fmla="*/ 81 w 149"/>
                <a:gd name="T1" fmla="*/ 0 h 149"/>
                <a:gd name="T2" fmla="*/ 81 w 149"/>
                <a:gd name="T3" fmla="*/ 68 h 149"/>
                <a:gd name="T4" fmla="*/ 149 w 149"/>
                <a:gd name="T5" fmla="*/ 68 h 149"/>
                <a:gd name="T6" fmla="*/ 69 w 149"/>
                <a:gd name="T7" fmla="*/ 149 h 149"/>
                <a:gd name="T8" fmla="*/ 0 w 149"/>
                <a:gd name="T9" fmla="*/ 149 h 149"/>
                <a:gd name="T10" fmla="*/ 0 w 149"/>
                <a:gd name="T11" fmla="*/ 81 h 149"/>
                <a:gd name="T12" fmla="*/ 81 w 149"/>
                <a:gd name="T13" fmla="*/ 0 h 149"/>
              </a:gdLst>
              <a:ahLst/>
              <a:cxnLst>
                <a:cxn ang="0">
                  <a:pos x="T0" y="T1"/>
                </a:cxn>
                <a:cxn ang="0">
                  <a:pos x="T2" y="T3"/>
                </a:cxn>
                <a:cxn ang="0">
                  <a:pos x="T4" y="T5"/>
                </a:cxn>
                <a:cxn ang="0">
                  <a:pos x="T6" y="T7"/>
                </a:cxn>
                <a:cxn ang="0">
                  <a:pos x="T8" y="T9"/>
                </a:cxn>
                <a:cxn ang="0">
                  <a:pos x="T10" y="T11"/>
                </a:cxn>
                <a:cxn ang="0">
                  <a:pos x="T12" y="T13"/>
                </a:cxn>
              </a:cxnLst>
              <a:rect l="0" t="0" r="r" b="b"/>
              <a:pathLst>
                <a:path w="149" h="149">
                  <a:moveTo>
                    <a:pt x="81" y="0"/>
                  </a:moveTo>
                  <a:lnTo>
                    <a:pt x="81" y="68"/>
                  </a:lnTo>
                  <a:lnTo>
                    <a:pt x="149" y="68"/>
                  </a:lnTo>
                  <a:lnTo>
                    <a:pt x="69" y="149"/>
                  </a:lnTo>
                  <a:lnTo>
                    <a:pt x="0" y="149"/>
                  </a:lnTo>
                  <a:lnTo>
                    <a:pt x="0" y="81"/>
                  </a:lnTo>
                  <a:lnTo>
                    <a:pt x="81" y="0"/>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Line 2595">
              <a:extLst>
                <a:ext uri="{FF2B5EF4-FFF2-40B4-BE49-F238E27FC236}">
                  <a16:creationId xmlns:a16="http://schemas.microsoft.com/office/drawing/2014/main" id="{C70E0ACA-A52D-4364-8EFC-83780FDFB946}"/>
                </a:ext>
              </a:extLst>
            </p:cNvPr>
            <p:cNvSpPr>
              <a:spLocks noChangeShapeType="1"/>
            </p:cNvSpPr>
            <p:nvPr/>
          </p:nvSpPr>
          <p:spPr bwMode="auto">
            <a:xfrm flipH="1">
              <a:off x="8736013" y="1635125"/>
              <a:ext cx="144463" cy="14446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Arc 230">
              <a:extLst>
                <a:ext uri="{FF2B5EF4-FFF2-40B4-BE49-F238E27FC236}">
                  <a16:creationId xmlns:a16="http://schemas.microsoft.com/office/drawing/2014/main" id="{408FF5A1-917E-4577-AFA6-1B3B38CE785F}"/>
                </a:ext>
              </a:extLst>
            </p:cNvPr>
            <p:cNvSpPr>
              <a:spLocks noChangeAspect="1"/>
            </p:cNvSpPr>
            <p:nvPr/>
          </p:nvSpPr>
          <p:spPr>
            <a:xfrm flipH="1">
              <a:off x="8561389" y="1606551"/>
              <a:ext cx="347613" cy="347613"/>
            </a:xfrm>
            <a:prstGeom prst="arc">
              <a:avLst>
                <a:gd name="adj1" fmla="val 14335992"/>
                <a:gd name="adj2" fmla="val 12531878"/>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Arc 231">
              <a:extLst>
                <a:ext uri="{FF2B5EF4-FFF2-40B4-BE49-F238E27FC236}">
                  <a16:creationId xmlns:a16="http://schemas.microsoft.com/office/drawing/2014/main" id="{502BCDE6-D942-4F4D-9C24-AF975447B92D}"/>
                </a:ext>
              </a:extLst>
            </p:cNvPr>
            <p:cNvSpPr>
              <a:spLocks noChangeAspect="1"/>
            </p:cNvSpPr>
            <p:nvPr/>
          </p:nvSpPr>
          <p:spPr>
            <a:xfrm flipH="1">
              <a:off x="8655068" y="1698643"/>
              <a:ext cx="161898" cy="161898"/>
            </a:xfrm>
            <a:prstGeom prst="arc">
              <a:avLst>
                <a:gd name="adj1" fmla="val 14837703"/>
                <a:gd name="adj2" fmla="val 12118974"/>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488530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9CF010A3-AD37-4650-947A-54FBB64C860B}"/>
              </a:ext>
            </a:extLst>
          </p:cNvPr>
          <p:cNvGraphicFramePr>
            <a:graphicFrameLocks noChangeAspect="1"/>
          </p:cNvGraphicFramePr>
          <p:nvPr>
            <p:custDataLst>
              <p:tags r:id="rId2"/>
            </p:custDataLst>
            <p:extLst>
              <p:ext uri="{D42A27DB-BD31-4B8C-83A1-F6EECF244321}">
                <p14:modId xmlns:p14="http://schemas.microsoft.com/office/powerpoint/2010/main" val="401001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Diapositive think-cell" r:id="rId4" imgW="395" imgH="394" progId="TCLayout.ActiveDocument.1">
                  <p:embed/>
                </p:oleObj>
              </mc:Choice>
              <mc:Fallback>
                <p:oleObj name="Diapositive think-cell" r:id="rId4" imgW="395" imgH="394" progId="TCLayout.ActiveDocument.1">
                  <p:embed/>
                  <p:pic>
                    <p:nvPicPr>
                      <p:cNvPr id="13" name="Objet 12" hidden="1">
                        <a:extLst>
                          <a:ext uri="{FF2B5EF4-FFF2-40B4-BE49-F238E27FC236}">
                            <a16:creationId xmlns:a16="http://schemas.microsoft.com/office/drawing/2014/main" id="{9CF010A3-AD37-4650-947A-54FBB64C86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9DF07608-5D5C-41E9-BD2B-7A66EA041714}"/>
              </a:ext>
            </a:extLst>
          </p:cNvPr>
          <p:cNvSpPr>
            <a:spLocks noGrp="1"/>
          </p:cNvSpPr>
          <p:nvPr>
            <p:ph type="title"/>
          </p:nvPr>
        </p:nvSpPr>
        <p:spPr/>
        <p:txBody>
          <a:bodyPr vert="horz"/>
          <a:lstStyle/>
          <a:p>
            <a:r>
              <a:rPr lang="fr-FR" dirty="0"/>
              <a:t>Pourquoi l’économie circulaire ?</a:t>
            </a:r>
          </a:p>
        </p:txBody>
      </p:sp>
      <p:sp>
        <p:nvSpPr>
          <p:cNvPr id="4" name="Espace réservé du texte 3">
            <a:extLst>
              <a:ext uri="{FF2B5EF4-FFF2-40B4-BE49-F238E27FC236}">
                <a16:creationId xmlns:a16="http://schemas.microsoft.com/office/drawing/2014/main" id="{4CD40D24-5533-4163-A882-1B908216E871}"/>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05FBB3C3-D2A9-4F34-9C7C-64DA79E5B3EB}"/>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01B89D58-7404-4897-A893-E052274C844E}"/>
              </a:ext>
            </a:extLst>
          </p:cNvPr>
          <p:cNvSpPr>
            <a:spLocks noGrp="1"/>
          </p:cNvSpPr>
          <p:nvPr>
            <p:ph type="ftr" sz="quarter" idx="15"/>
          </p:nvPr>
        </p:nvSpPr>
        <p:spPr/>
        <p:txBody>
          <a:bodyPr/>
          <a:lstStyle/>
          <a:p>
            <a:pPr algn="l"/>
            <a:r>
              <a:rPr lang="fr-FR"/>
              <a:t>Titre de la présentation - 00/00/00</a:t>
            </a:r>
            <a:endParaRPr lang="fr-FR" dirty="0"/>
          </a:p>
        </p:txBody>
      </p:sp>
      <p:sp>
        <p:nvSpPr>
          <p:cNvPr id="7" name="Espace réservé du numéro de diapositive 6">
            <a:extLst>
              <a:ext uri="{FF2B5EF4-FFF2-40B4-BE49-F238E27FC236}">
                <a16:creationId xmlns:a16="http://schemas.microsoft.com/office/drawing/2014/main" id="{B78C4037-878E-4988-A280-EF62BD1F331B}"/>
              </a:ext>
            </a:extLst>
          </p:cNvPr>
          <p:cNvSpPr>
            <a:spLocks noGrp="1"/>
          </p:cNvSpPr>
          <p:nvPr>
            <p:ph type="sldNum" sz="quarter" idx="16"/>
          </p:nvPr>
        </p:nvSpPr>
        <p:spPr/>
        <p:txBody>
          <a:bodyPr/>
          <a:lstStyle/>
          <a:p>
            <a:fld id="{733122C9-A0B9-462F-8757-0847AD287B63}" type="slidenum">
              <a:rPr lang="fr-FR" smtClean="0"/>
              <a:pPr/>
              <a:t>8</a:t>
            </a:fld>
            <a:endParaRPr lang="fr-FR" dirty="0"/>
          </a:p>
        </p:txBody>
      </p:sp>
      <p:sp>
        <p:nvSpPr>
          <p:cNvPr id="8" name="ZoneTexte 7">
            <a:extLst>
              <a:ext uri="{FF2B5EF4-FFF2-40B4-BE49-F238E27FC236}">
                <a16:creationId xmlns:a16="http://schemas.microsoft.com/office/drawing/2014/main" id="{F45B93F8-5A18-47AB-8880-78AB62C66102}"/>
              </a:ext>
            </a:extLst>
          </p:cNvPr>
          <p:cNvSpPr txBox="1"/>
          <p:nvPr/>
        </p:nvSpPr>
        <p:spPr>
          <a:xfrm>
            <a:off x="1008646" y="2783079"/>
            <a:ext cx="7553498" cy="369332"/>
          </a:xfrm>
          <a:prstGeom prst="rect">
            <a:avLst/>
          </a:prstGeom>
          <a:noFill/>
        </p:spPr>
        <p:txBody>
          <a:bodyPr wrap="square" rtlCol="0">
            <a:spAutoFit/>
          </a:bodyPr>
          <a:lstStyle/>
          <a:p>
            <a:r>
              <a:rPr lang="fr-FR" dirty="0">
                <a:solidFill>
                  <a:schemeClr val="tx2"/>
                </a:solidFill>
              </a:rPr>
              <a:t>Optimisation du ratio </a:t>
            </a:r>
            <a:r>
              <a:rPr lang="fr-FR" b="1" dirty="0">
                <a:solidFill>
                  <a:schemeClr val="tx2"/>
                </a:solidFill>
              </a:rPr>
              <a:t>qualité / prix</a:t>
            </a:r>
          </a:p>
        </p:txBody>
      </p:sp>
      <p:sp>
        <p:nvSpPr>
          <p:cNvPr id="9" name="ZoneTexte 8">
            <a:extLst>
              <a:ext uri="{FF2B5EF4-FFF2-40B4-BE49-F238E27FC236}">
                <a16:creationId xmlns:a16="http://schemas.microsoft.com/office/drawing/2014/main" id="{B72073D4-0AAB-40EC-9970-64D5B95B3DE5}"/>
              </a:ext>
            </a:extLst>
          </p:cNvPr>
          <p:cNvSpPr txBox="1"/>
          <p:nvPr/>
        </p:nvSpPr>
        <p:spPr>
          <a:xfrm>
            <a:off x="1008646" y="1867841"/>
            <a:ext cx="7553498" cy="369332"/>
          </a:xfrm>
          <a:prstGeom prst="rect">
            <a:avLst/>
          </a:prstGeom>
          <a:noFill/>
        </p:spPr>
        <p:txBody>
          <a:bodyPr wrap="square" rtlCol="0">
            <a:spAutoFit/>
          </a:bodyPr>
          <a:lstStyle/>
          <a:p>
            <a:r>
              <a:rPr lang="fr-FR" dirty="0">
                <a:solidFill>
                  <a:schemeClr val="tx2"/>
                </a:solidFill>
              </a:rPr>
              <a:t>Amélioration de la </a:t>
            </a:r>
            <a:r>
              <a:rPr lang="fr-FR" b="1" dirty="0">
                <a:solidFill>
                  <a:schemeClr val="tx2"/>
                </a:solidFill>
              </a:rPr>
              <a:t>valeur d’usage</a:t>
            </a:r>
          </a:p>
        </p:txBody>
      </p:sp>
      <p:sp>
        <p:nvSpPr>
          <p:cNvPr id="10" name="ZoneTexte 9">
            <a:extLst>
              <a:ext uri="{FF2B5EF4-FFF2-40B4-BE49-F238E27FC236}">
                <a16:creationId xmlns:a16="http://schemas.microsoft.com/office/drawing/2014/main" id="{7C66685E-4F3C-4E05-B3F6-C3EAA82147F0}"/>
              </a:ext>
            </a:extLst>
          </p:cNvPr>
          <p:cNvSpPr txBox="1"/>
          <p:nvPr/>
        </p:nvSpPr>
        <p:spPr>
          <a:xfrm>
            <a:off x="1008646" y="3698317"/>
            <a:ext cx="7553498" cy="369332"/>
          </a:xfrm>
          <a:prstGeom prst="rect">
            <a:avLst/>
          </a:prstGeom>
          <a:noFill/>
        </p:spPr>
        <p:txBody>
          <a:bodyPr wrap="square" rtlCol="0">
            <a:spAutoFit/>
          </a:bodyPr>
          <a:lstStyle/>
          <a:p>
            <a:r>
              <a:rPr lang="fr-FR" b="1" dirty="0">
                <a:solidFill>
                  <a:schemeClr val="tx2"/>
                </a:solidFill>
              </a:rPr>
              <a:t>Réduction </a:t>
            </a:r>
            <a:r>
              <a:rPr lang="fr-FR" dirty="0">
                <a:solidFill>
                  <a:schemeClr val="tx2"/>
                </a:solidFill>
              </a:rPr>
              <a:t>à l’exposition de fluctuation des prix matières</a:t>
            </a:r>
          </a:p>
        </p:txBody>
      </p:sp>
      <p:sp>
        <p:nvSpPr>
          <p:cNvPr id="11" name="ZoneTexte 10">
            <a:extLst>
              <a:ext uri="{FF2B5EF4-FFF2-40B4-BE49-F238E27FC236}">
                <a16:creationId xmlns:a16="http://schemas.microsoft.com/office/drawing/2014/main" id="{2FF71191-3CBC-49BB-8D82-7100AA963C8C}"/>
              </a:ext>
            </a:extLst>
          </p:cNvPr>
          <p:cNvSpPr txBox="1"/>
          <p:nvPr/>
        </p:nvSpPr>
        <p:spPr>
          <a:xfrm>
            <a:off x="1019289" y="4613556"/>
            <a:ext cx="7553498" cy="369332"/>
          </a:xfrm>
          <a:prstGeom prst="rect">
            <a:avLst/>
          </a:prstGeom>
          <a:noFill/>
        </p:spPr>
        <p:txBody>
          <a:bodyPr wrap="square" rtlCol="0">
            <a:spAutoFit/>
          </a:bodyPr>
          <a:lstStyle/>
          <a:p>
            <a:r>
              <a:rPr lang="fr-FR" b="1" dirty="0">
                <a:solidFill>
                  <a:schemeClr val="tx2"/>
                </a:solidFill>
              </a:rPr>
              <a:t>Sécurisation</a:t>
            </a:r>
            <a:r>
              <a:rPr lang="fr-FR" dirty="0">
                <a:solidFill>
                  <a:schemeClr val="tx2"/>
                </a:solidFill>
              </a:rPr>
              <a:t> de la chaîne d’approvisionnement</a:t>
            </a:r>
          </a:p>
        </p:txBody>
      </p:sp>
      <p:sp>
        <p:nvSpPr>
          <p:cNvPr id="21" name="Freeform 58">
            <a:extLst>
              <a:ext uri="{FF2B5EF4-FFF2-40B4-BE49-F238E27FC236}">
                <a16:creationId xmlns:a16="http://schemas.microsoft.com/office/drawing/2014/main" id="{D19CC853-BB13-43D0-9AF1-60CD6B5ADEF2}"/>
              </a:ext>
            </a:extLst>
          </p:cNvPr>
          <p:cNvSpPr>
            <a:spLocks noEditPoints="1"/>
          </p:cNvSpPr>
          <p:nvPr/>
        </p:nvSpPr>
        <p:spPr bwMode="auto">
          <a:xfrm>
            <a:off x="659738" y="4599405"/>
            <a:ext cx="351880" cy="373448"/>
          </a:xfrm>
          <a:custGeom>
            <a:avLst/>
            <a:gdLst>
              <a:gd name="T0" fmla="*/ 4275 w 5809"/>
              <a:gd name="T1" fmla="*/ 4442 h 6164"/>
              <a:gd name="T2" fmla="*/ 3975 w 5809"/>
              <a:gd name="T3" fmla="*/ 4875 h 6164"/>
              <a:gd name="T4" fmla="*/ 4040 w 5809"/>
              <a:gd name="T5" fmla="*/ 5417 h 6164"/>
              <a:gd name="T6" fmla="*/ 4434 w 5809"/>
              <a:gd name="T7" fmla="*/ 5766 h 6164"/>
              <a:gd name="T8" fmla="*/ 4980 w 5809"/>
              <a:gd name="T9" fmla="*/ 5766 h 6164"/>
              <a:gd name="T10" fmla="*/ 5374 w 5809"/>
              <a:gd name="T11" fmla="*/ 5417 h 6164"/>
              <a:gd name="T12" fmla="*/ 5439 w 5809"/>
              <a:gd name="T13" fmla="*/ 4875 h 6164"/>
              <a:gd name="T14" fmla="*/ 5139 w 5809"/>
              <a:gd name="T15" fmla="*/ 4442 h 6164"/>
              <a:gd name="T16" fmla="*/ 1103 w 5809"/>
              <a:gd name="T17" fmla="*/ 2325 h 6164"/>
              <a:gd name="T18" fmla="*/ 602 w 5809"/>
              <a:gd name="T19" fmla="*/ 2516 h 6164"/>
              <a:gd name="T20" fmla="*/ 353 w 5809"/>
              <a:gd name="T21" fmla="*/ 2987 h 6164"/>
              <a:gd name="T22" fmla="*/ 484 w 5809"/>
              <a:gd name="T23" fmla="*/ 3513 h 6164"/>
              <a:gd name="T24" fmla="*/ 917 w 5809"/>
              <a:gd name="T25" fmla="*/ 3815 h 6164"/>
              <a:gd name="T26" fmla="*/ 1459 w 5809"/>
              <a:gd name="T27" fmla="*/ 3749 h 6164"/>
              <a:gd name="T28" fmla="*/ 1808 w 5809"/>
              <a:gd name="T29" fmla="*/ 3355 h 6164"/>
              <a:gd name="T30" fmla="*/ 1808 w 5809"/>
              <a:gd name="T31" fmla="*/ 2809 h 6164"/>
              <a:gd name="T32" fmla="*/ 1459 w 5809"/>
              <a:gd name="T33" fmla="*/ 2413 h 6164"/>
              <a:gd name="T34" fmla="*/ 4612 w 5809"/>
              <a:gd name="T35" fmla="*/ 353 h 6164"/>
              <a:gd name="T36" fmla="*/ 4141 w 5809"/>
              <a:gd name="T37" fmla="*/ 603 h 6164"/>
              <a:gd name="T38" fmla="*/ 3950 w 5809"/>
              <a:gd name="T39" fmla="*/ 1104 h 6164"/>
              <a:gd name="T40" fmla="*/ 4141 w 5809"/>
              <a:gd name="T41" fmla="*/ 1606 h 6164"/>
              <a:gd name="T42" fmla="*/ 4612 w 5809"/>
              <a:gd name="T43" fmla="*/ 1854 h 6164"/>
              <a:gd name="T44" fmla="*/ 5139 w 5809"/>
              <a:gd name="T45" fmla="*/ 1725 h 6164"/>
              <a:gd name="T46" fmla="*/ 5439 w 5809"/>
              <a:gd name="T47" fmla="*/ 1289 h 6164"/>
              <a:gd name="T48" fmla="*/ 5374 w 5809"/>
              <a:gd name="T49" fmla="*/ 749 h 6164"/>
              <a:gd name="T50" fmla="*/ 4980 w 5809"/>
              <a:gd name="T51" fmla="*/ 398 h 6164"/>
              <a:gd name="T52" fmla="*/ 4927 w 5809"/>
              <a:gd name="T53" fmla="*/ 23 h 6164"/>
              <a:gd name="T54" fmla="*/ 5484 w 5809"/>
              <a:gd name="T55" fmla="*/ 323 h 6164"/>
              <a:gd name="T56" fmla="*/ 5784 w 5809"/>
              <a:gd name="T57" fmla="*/ 880 h 6164"/>
              <a:gd name="T58" fmla="*/ 5721 w 5809"/>
              <a:gd name="T59" fmla="*/ 1531 h 6164"/>
              <a:gd name="T60" fmla="*/ 5321 w 5809"/>
              <a:gd name="T61" fmla="*/ 2015 h 6164"/>
              <a:gd name="T62" fmla="*/ 4706 w 5809"/>
              <a:gd name="T63" fmla="*/ 2205 h 6164"/>
              <a:gd name="T64" fmla="*/ 4123 w 5809"/>
              <a:gd name="T65" fmla="*/ 2038 h 6164"/>
              <a:gd name="T66" fmla="*/ 2166 w 5809"/>
              <a:gd name="T67" fmla="*/ 2804 h 6164"/>
              <a:gd name="T68" fmla="*/ 2168 w 5809"/>
              <a:gd name="T69" fmla="*/ 3357 h 6164"/>
              <a:gd name="T70" fmla="*/ 4126 w 5809"/>
              <a:gd name="T71" fmla="*/ 4126 h 6164"/>
              <a:gd name="T72" fmla="*/ 4706 w 5809"/>
              <a:gd name="T73" fmla="*/ 3961 h 6164"/>
              <a:gd name="T74" fmla="*/ 5323 w 5809"/>
              <a:gd name="T75" fmla="*/ 4149 h 6164"/>
              <a:gd name="T76" fmla="*/ 5723 w 5809"/>
              <a:gd name="T77" fmla="*/ 4635 h 6164"/>
              <a:gd name="T78" fmla="*/ 5786 w 5809"/>
              <a:gd name="T79" fmla="*/ 5284 h 6164"/>
              <a:gd name="T80" fmla="*/ 5486 w 5809"/>
              <a:gd name="T81" fmla="*/ 5841 h 6164"/>
              <a:gd name="T82" fmla="*/ 4929 w 5809"/>
              <a:gd name="T83" fmla="*/ 6143 h 6164"/>
              <a:gd name="T84" fmla="*/ 4280 w 5809"/>
              <a:gd name="T85" fmla="*/ 6078 h 6164"/>
              <a:gd name="T86" fmla="*/ 3794 w 5809"/>
              <a:gd name="T87" fmla="*/ 5678 h 6164"/>
              <a:gd name="T88" fmla="*/ 3607 w 5809"/>
              <a:gd name="T89" fmla="*/ 5063 h 6164"/>
              <a:gd name="T90" fmla="*/ 1915 w 5809"/>
              <a:gd name="T91" fmla="*/ 3826 h 6164"/>
              <a:gd name="T92" fmla="*/ 1411 w 5809"/>
              <a:gd name="T93" fmla="*/ 4140 h 6164"/>
              <a:gd name="T94" fmla="*/ 777 w 5809"/>
              <a:gd name="T95" fmla="*/ 4134 h 6164"/>
              <a:gd name="T96" fmla="*/ 253 w 5809"/>
              <a:gd name="T97" fmla="*/ 3783 h 6164"/>
              <a:gd name="T98" fmla="*/ 6 w 5809"/>
              <a:gd name="T99" fmla="*/ 3194 h 6164"/>
              <a:gd name="T100" fmla="*/ 133 w 5809"/>
              <a:gd name="T101" fmla="*/ 2556 h 6164"/>
              <a:gd name="T102" fmla="*/ 578 w 5809"/>
              <a:gd name="T103" fmla="*/ 2113 h 6164"/>
              <a:gd name="T104" fmla="*/ 1208 w 5809"/>
              <a:gd name="T105" fmla="*/ 1984 h 6164"/>
              <a:gd name="T106" fmla="*/ 1767 w 5809"/>
              <a:gd name="T107" fmla="*/ 2203 h 6164"/>
              <a:gd name="T108" fmla="*/ 3620 w 5809"/>
              <a:gd name="T109" fmla="*/ 1291 h 6164"/>
              <a:gd name="T110" fmla="*/ 3691 w 5809"/>
              <a:gd name="T111" fmla="*/ 674 h 6164"/>
              <a:gd name="T112" fmla="*/ 4091 w 5809"/>
              <a:gd name="T113" fmla="*/ 190 h 6164"/>
              <a:gd name="T114" fmla="*/ 4706 w 5809"/>
              <a:gd name="T115" fmla="*/ 0 h 6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09" h="6164">
                <a:moveTo>
                  <a:pt x="4706" y="4305"/>
                </a:moveTo>
                <a:lnTo>
                  <a:pt x="4612" y="4310"/>
                </a:lnTo>
                <a:lnTo>
                  <a:pt x="4520" y="4329"/>
                </a:lnTo>
                <a:lnTo>
                  <a:pt x="4434" y="4355"/>
                </a:lnTo>
                <a:lnTo>
                  <a:pt x="4352" y="4395"/>
                </a:lnTo>
                <a:lnTo>
                  <a:pt x="4275" y="4442"/>
                </a:lnTo>
                <a:lnTo>
                  <a:pt x="4205" y="4496"/>
                </a:lnTo>
                <a:lnTo>
                  <a:pt x="4141" y="4560"/>
                </a:lnTo>
                <a:lnTo>
                  <a:pt x="4087" y="4629"/>
                </a:lnTo>
                <a:lnTo>
                  <a:pt x="4040" y="4706"/>
                </a:lnTo>
                <a:lnTo>
                  <a:pt x="4001" y="4789"/>
                </a:lnTo>
                <a:lnTo>
                  <a:pt x="3975" y="4875"/>
                </a:lnTo>
                <a:lnTo>
                  <a:pt x="3956" y="4967"/>
                </a:lnTo>
                <a:lnTo>
                  <a:pt x="3950" y="5061"/>
                </a:lnTo>
                <a:lnTo>
                  <a:pt x="3956" y="5157"/>
                </a:lnTo>
                <a:lnTo>
                  <a:pt x="3975" y="5248"/>
                </a:lnTo>
                <a:lnTo>
                  <a:pt x="4001" y="5335"/>
                </a:lnTo>
                <a:lnTo>
                  <a:pt x="4040" y="5417"/>
                </a:lnTo>
                <a:lnTo>
                  <a:pt x="4087" y="5494"/>
                </a:lnTo>
                <a:lnTo>
                  <a:pt x="4141" y="5564"/>
                </a:lnTo>
                <a:lnTo>
                  <a:pt x="4205" y="5627"/>
                </a:lnTo>
                <a:lnTo>
                  <a:pt x="4275" y="5682"/>
                </a:lnTo>
                <a:lnTo>
                  <a:pt x="4352" y="5729"/>
                </a:lnTo>
                <a:lnTo>
                  <a:pt x="4434" y="5766"/>
                </a:lnTo>
                <a:lnTo>
                  <a:pt x="4520" y="5794"/>
                </a:lnTo>
                <a:lnTo>
                  <a:pt x="4612" y="5811"/>
                </a:lnTo>
                <a:lnTo>
                  <a:pt x="4706" y="5819"/>
                </a:lnTo>
                <a:lnTo>
                  <a:pt x="4802" y="5811"/>
                </a:lnTo>
                <a:lnTo>
                  <a:pt x="4894" y="5794"/>
                </a:lnTo>
                <a:lnTo>
                  <a:pt x="4980" y="5766"/>
                </a:lnTo>
                <a:lnTo>
                  <a:pt x="5062" y="5729"/>
                </a:lnTo>
                <a:lnTo>
                  <a:pt x="5139" y="5682"/>
                </a:lnTo>
                <a:lnTo>
                  <a:pt x="5209" y="5627"/>
                </a:lnTo>
                <a:lnTo>
                  <a:pt x="5272" y="5564"/>
                </a:lnTo>
                <a:lnTo>
                  <a:pt x="5327" y="5494"/>
                </a:lnTo>
                <a:lnTo>
                  <a:pt x="5374" y="5417"/>
                </a:lnTo>
                <a:lnTo>
                  <a:pt x="5411" y="5335"/>
                </a:lnTo>
                <a:lnTo>
                  <a:pt x="5439" y="5248"/>
                </a:lnTo>
                <a:lnTo>
                  <a:pt x="5456" y="5157"/>
                </a:lnTo>
                <a:lnTo>
                  <a:pt x="5464" y="5061"/>
                </a:lnTo>
                <a:lnTo>
                  <a:pt x="5456" y="4967"/>
                </a:lnTo>
                <a:lnTo>
                  <a:pt x="5439" y="4875"/>
                </a:lnTo>
                <a:lnTo>
                  <a:pt x="5411" y="4789"/>
                </a:lnTo>
                <a:lnTo>
                  <a:pt x="5374" y="4706"/>
                </a:lnTo>
                <a:lnTo>
                  <a:pt x="5327" y="4629"/>
                </a:lnTo>
                <a:lnTo>
                  <a:pt x="5272" y="4560"/>
                </a:lnTo>
                <a:lnTo>
                  <a:pt x="5209" y="4496"/>
                </a:lnTo>
                <a:lnTo>
                  <a:pt x="5139" y="4442"/>
                </a:lnTo>
                <a:lnTo>
                  <a:pt x="5062" y="4395"/>
                </a:lnTo>
                <a:lnTo>
                  <a:pt x="4980" y="4355"/>
                </a:lnTo>
                <a:lnTo>
                  <a:pt x="4894" y="4329"/>
                </a:lnTo>
                <a:lnTo>
                  <a:pt x="4802" y="4310"/>
                </a:lnTo>
                <a:lnTo>
                  <a:pt x="4706" y="4305"/>
                </a:lnTo>
                <a:close/>
                <a:moveTo>
                  <a:pt x="1103" y="2325"/>
                </a:moveTo>
                <a:lnTo>
                  <a:pt x="1009" y="2331"/>
                </a:lnTo>
                <a:lnTo>
                  <a:pt x="917" y="2348"/>
                </a:lnTo>
                <a:lnTo>
                  <a:pt x="831" y="2376"/>
                </a:lnTo>
                <a:lnTo>
                  <a:pt x="748" y="2413"/>
                </a:lnTo>
                <a:lnTo>
                  <a:pt x="672" y="2460"/>
                </a:lnTo>
                <a:lnTo>
                  <a:pt x="602" y="2516"/>
                </a:lnTo>
                <a:lnTo>
                  <a:pt x="538" y="2578"/>
                </a:lnTo>
                <a:lnTo>
                  <a:pt x="484" y="2650"/>
                </a:lnTo>
                <a:lnTo>
                  <a:pt x="437" y="2727"/>
                </a:lnTo>
                <a:lnTo>
                  <a:pt x="398" y="2809"/>
                </a:lnTo>
                <a:lnTo>
                  <a:pt x="371" y="2895"/>
                </a:lnTo>
                <a:lnTo>
                  <a:pt x="353" y="2987"/>
                </a:lnTo>
                <a:lnTo>
                  <a:pt x="347" y="3081"/>
                </a:lnTo>
                <a:lnTo>
                  <a:pt x="353" y="3177"/>
                </a:lnTo>
                <a:lnTo>
                  <a:pt x="371" y="3267"/>
                </a:lnTo>
                <a:lnTo>
                  <a:pt x="398" y="3355"/>
                </a:lnTo>
                <a:lnTo>
                  <a:pt x="437" y="3438"/>
                </a:lnTo>
                <a:lnTo>
                  <a:pt x="484" y="3513"/>
                </a:lnTo>
                <a:lnTo>
                  <a:pt x="538" y="3584"/>
                </a:lnTo>
                <a:lnTo>
                  <a:pt x="602" y="3646"/>
                </a:lnTo>
                <a:lnTo>
                  <a:pt x="672" y="3702"/>
                </a:lnTo>
                <a:lnTo>
                  <a:pt x="748" y="3749"/>
                </a:lnTo>
                <a:lnTo>
                  <a:pt x="831" y="3787"/>
                </a:lnTo>
                <a:lnTo>
                  <a:pt x="917" y="3815"/>
                </a:lnTo>
                <a:lnTo>
                  <a:pt x="1009" y="3832"/>
                </a:lnTo>
                <a:lnTo>
                  <a:pt x="1103" y="3837"/>
                </a:lnTo>
                <a:lnTo>
                  <a:pt x="1199" y="3832"/>
                </a:lnTo>
                <a:lnTo>
                  <a:pt x="1289" y="3815"/>
                </a:lnTo>
                <a:lnTo>
                  <a:pt x="1377" y="3787"/>
                </a:lnTo>
                <a:lnTo>
                  <a:pt x="1459" y="3749"/>
                </a:lnTo>
                <a:lnTo>
                  <a:pt x="1534" y="3702"/>
                </a:lnTo>
                <a:lnTo>
                  <a:pt x="1606" y="3646"/>
                </a:lnTo>
                <a:lnTo>
                  <a:pt x="1669" y="3584"/>
                </a:lnTo>
                <a:lnTo>
                  <a:pt x="1724" y="3513"/>
                </a:lnTo>
                <a:lnTo>
                  <a:pt x="1771" y="3438"/>
                </a:lnTo>
                <a:lnTo>
                  <a:pt x="1808" y="3355"/>
                </a:lnTo>
                <a:lnTo>
                  <a:pt x="1836" y="3267"/>
                </a:lnTo>
                <a:lnTo>
                  <a:pt x="1853" y="3177"/>
                </a:lnTo>
                <a:lnTo>
                  <a:pt x="1861" y="3081"/>
                </a:lnTo>
                <a:lnTo>
                  <a:pt x="1853" y="2987"/>
                </a:lnTo>
                <a:lnTo>
                  <a:pt x="1836" y="2895"/>
                </a:lnTo>
                <a:lnTo>
                  <a:pt x="1808" y="2809"/>
                </a:lnTo>
                <a:lnTo>
                  <a:pt x="1771" y="2727"/>
                </a:lnTo>
                <a:lnTo>
                  <a:pt x="1724" y="2650"/>
                </a:lnTo>
                <a:lnTo>
                  <a:pt x="1669" y="2578"/>
                </a:lnTo>
                <a:lnTo>
                  <a:pt x="1606" y="2516"/>
                </a:lnTo>
                <a:lnTo>
                  <a:pt x="1536" y="2460"/>
                </a:lnTo>
                <a:lnTo>
                  <a:pt x="1459" y="2413"/>
                </a:lnTo>
                <a:lnTo>
                  <a:pt x="1377" y="2376"/>
                </a:lnTo>
                <a:lnTo>
                  <a:pt x="1291" y="2348"/>
                </a:lnTo>
                <a:lnTo>
                  <a:pt x="1199" y="2331"/>
                </a:lnTo>
                <a:lnTo>
                  <a:pt x="1103" y="2325"/>
                </a:lnTo>
                <a:close/>
                <a:moveTo>
                  <a:pt x="4706" y="347"/>
                </a:moveTo>
                <a:lnTo>
                  <a:pt x="4612" y="353"/>
                </a:lnTo>
                <a:lnTo>
                  <a:pt x="4520" y="370"/>
                </a:lnTo>
                <a:lnTo>
                  <a:pt x="4434" y="398"/>
                </a:lnTo>
                <a:lnTo>
                  <a:pt x="4352" y="436"/>
                </a:lnTo>
                <a:lnTo>
                  <a:pt x="4277" y="482"/>
                </a:lnTo>
                <a:lnTo>
                  <a:pt x="4205" y="539"/>
                </a:lnTo>
                <a:lnTo>
                  <a:pt x="4141" y="603"/>
                </a:lnTo>
                <a:lnTo>
                  <a:pt x="4087" y="672"/>
                </a:lnTo>
                <a:lnTo>
                  <a:pt x="4040" y="749"/>
                </a:lnTo>
                <a:lnTo>
                  <a:pt x="4003" y="831"/>
                </a:lnTo>
                <a:lnTo>
                  <a:pt x="3975" y="918"/>
                </a:lnTo>
                <a:lnTo>
                  <a:pt x="3956" y="1010"/>
                </a:lnTo>
                <a:lnTo>
                  <a:pt x="3950" y="1104"/>
                </a:lnTo>
                <a:lnTo>
                  <a:pt x="3956" y="1199"/>
                </a:lnTo>
                <a:lnTo>
                  <a:pt x="3975" y="1289"/>
                </a:lnTo>
                <a:lnTo>
                  <a:pt x="4001" y="1378"/>
                </a:lnTo>
                <a:lnTo>
                  <a:pt x="4040" y="1460"/>
                </a:lnTo>
                <a:lnTo>
                  <a:pt x="4087" y="1535"/>
                </a:lnTo>
                <a:lnTo>
                  <a:pt x="4141" y="1606"/>
                </a:lnTo>
                <a:lnTo>
                  <a:pt x="4205" y="1668"/>
                </a:lnTo>
                <a:lnTo>
                  <a:pt x="4275" y="1725"/>
                </a:lnTo>
                <a:lnTo>
                  <a:pt x="4352" y="1772"/>
                </a:lnTo>
                <a:lnTo>
                  <a:pt x="4434" y="1809"/>
                </a:lnTo>
                <a:lnTo>
                  <a:pt x="4520" y="1837"/>
                </a:lnTo>
                <a:lnTo>
                  <a:pt x="4612" y="1854"/>
                </a:lnTo>
                <a:lnTo>
                  <a:pt x="4706" y="1860"/>
                </a:lnTo>
                <a:lnTo>
                  <a:pt x="4802" y="1854"/>
                </a:lnTo>
                <a:lnTo>
                  <a:pt x="4894" y="1837"/>
                </a:lnTo>
                <a:lnTo>
                  <a:pt x="4980" y="1809"/>
                </a:lnTo>
                <a:lnTo>
                  <a:pt x="5062" y="1772"/>
                </a:lnTo>
                <a:lnTo>
                  <a:pt x="5139" y="1725"/>
                </a:lnTo>
                <a:lnTo>
                  <a:pt x="5209" y="1668"/>
                </a:lnTo>
                <a:lnTo>
                  <a:pt x="5272" y="1606"/>
                </a:lnTo>
                <a:lnTo>
                  <a:pt x="5327" y="1535"/>
                </a:lnTo>
                <a:lnTo>
                  <a:pt x="5374" y="1460"/>
                </a:lnTo>
                <a:lnTo>
                  <a:pt x="5411" y="1378"/>
                </a:lnTo>
                <a:lnTo>
                  <a:pt x="5439" y="1289"/>
                </a:lnTo>
                <a:lnTo>
                  <a:pt x="5456" y="1199"/>
                </a:lnTo>
                <a:lnTo>
                  <a:pt x="5464" y="1104"/>
                </a:lnTo>
                <a:lnTo>
                  <a:pt x="5456" y="1010"/>
                </a:lnTo>
                <a:lnTo>
                  <a:pt x="5439" y="918"/>
                </a:lnTo>
                <a:lnTo>
                  <a:pt x="5411" y="831"/>
                </a:lnTo>
                <a:lnTo>
                  <a:pt x="5374" y="749"/>
                </a:lnTo>
                <a:lnTo>
                  <a:pt x="5327" y="672"/>
                </a:lnTo>
                <a:lnTo>
                  <a:pt x="5272" y="603"/>
                </a:lnTo>
                <a:lnTo>
                  <a:pt x="5209" y="539"/>
                </a:lnTo>
                <a:lnTo>
                  <a:pt x="5139" y="482"/>
                </a:lnTo>
                <a:lnTo>
                  <a:pt x="5062" y="436"/>
                </a:lnTo>
                <a:lnTo>
                  <a:pt x="4980" y="398"/>
                </a:lnTo>
                <a:lnTo>
                  <a:pt x="4894" y="370"/>
                </a:lnTo>
                <a:lnTo>
                  <a:pt x="4802" y="353"/>
                </a:lnTo>
                <a:lnTo>
                  <a:pt x="4706" y="347"/>
                </a:lnTo>
                <a:close/>
                <a:moveTo>
                  <a:pt x="4706" y="0"/>
                </a:moveTo>
                <a:lnTo>
                  <a:pt x="4819" y="6"/>
                </a:lnTo>
                <a:lnTo>
                  <a:pt x="4927" y="23"/>
                </a:lnTo>
                <a:lnTo>
                  <a:pt x="5032" y="51"/>
                </a:lnTo>
                <a:lnTo>
                  <a:pt x="5134" y="87"/>
                </a:lnTo>
                <a:lnTo>
                  <a:pt x="5231" y="133"/>
                </a:lnTo>
                <a:lnTo>
                  <a:pt x="5321" y="190"/>
                </a:lnTo>
                <a:lnTo>
                  <a:pt x="5406" y="252"/>
                </a:lnTo>
                <a:lnTo>
                  <a:pt x="5484" y="323"/>
                </a:lnTo>
                <a:lnTo>
                  <a:pt x="5556" y="402"/>
                </a:lnTo>
                <a:lnTo>
                  <a:pt x="5619" y="486"/>
                </a:lnTo>
                <a:lnTo>
                  <a:pt x="5674" y="578"/>
                </a:lnTo>
                <a:lnTo>
                  <a:pt x="5721" y="674"/>
                </a:lnTo>
                <a:lnTo>
                  <a:pt x="5758" y="775"/>
                </a:lnTo>
                <a:lnTo>
                  <a:pt x="5784" y="880"/>
                </a:lnTo>
                <a:lnTo>
                  <a:pt x="5801" y="989"/>
                </a:lnTo>
                <a:lnTo>
                  <a:pt x="5807" y="1102"/>
                </a:lnTo>
                <a:lnTo>
                  <a:pt x="5801" y="1214"/>
                </a:lnTo>
                <a:lnTo>
                  <a:pt x="5784" y="1325"/>
                </a:lnTo>
                <a:lnTo>
                  <a:pt x="5758" y="1430"/>
                </a:lnTo>
                <a:lnTo>
                  <a:pt x="5721" y="1531"/>
                </a:lnTo>
                <a:lnTo>
                  <a:pt x="5674" y="1627"/>
                </a:lnTo>
                <a:lnTo>
                  <a:pt x="5619" y="1719"/>
                </a:lnTo>
                <a:lnTo>
                  <a:pt x="5556" y="1803"/>
                </a:lnTo>
                <a:lnTo>
                  <a:pt x="5484" y="1882"/>
                </a:lnTo>
                <a:lnTo>
                  <a:pt x="5406" y="1954"/>
                </a:lnTo>
                <a:lnTo>
                  <a:pt x="5321" y="2015"/>
                </a:lnTo>
                <a:lnTo>
                  <a:pt x="5229" y="2072"/>
                </a:lnTo>
                <a:lnTo>
                  <a:pt x="5134" y="2119"/>
                </a:lnTo>
                <a:lnTo>
                  <a:pt x="5032" y="2154"/>
                </a:lnTo>
                <a:lnTo>
                  <a:pt x="4927" y="2182"/>
                </a:lnTo>
                <a:lnTo>
                  <a:pt x="4819" y="2199"/>
                </a:lnTo>
                <a:lnTo>
                  <a:pt x="4706" y="2205"/>
                </a:lnTo>
                <a:lnTo>
                  <a:pt x="4601" y="2199"/>
                </a:lnTo>
                <a:lnTo>
                  <a:pt x="4498" y="2184"/>
                </a:lnTo>
                <a:lnTo>
                  <a:pt x="4398" y="2160"/>
                </a:lnTo>
                <a:lnTo>
                  <a:pt x="4303" y="2128"/>
                </a:lnTo>
                <a:lnTo>
                  <a:pt x="4211" y="2087"/>
                </a:lnTo>
                <a:lnTo>
                  <a:pt x="4123" y="2038"/>
                </a:lnTo>
                <a:lnTo>
                  <a:pt x="4042" y="1982"/>
                </a:lnTo>
                <a:lnTo>
                  <a:pt x="3965" y="1918"/>
                </a:lnTo>
                <a:lnTo>
                  <a:pt x="3896" y="1848"/>
                </a:lnTo>
                <a:lnTo>
                  <a:pt x="3832" y="1772"/>
                </a:lnTo>
                <a:lnTo>
                  <a:pt x="2140" y="2717"/>
                </a:lnTo>
                <a:lnTo>
                  <a:pt x="2166" y="2804"/>
                </a:lnTo>
                <a:lnTo>
                  <a:pt x="2187" y="2894"/>
                </a:lnTo>
                <a:lnTo>
                  <a:pt x="2198" y="2987"/>
                </a:lnTo>
                <a:lnTo>
                  <a:pt x="2202" y="3081"/>
                </a:lnTo>
                <a:lnTo>
                  <a:pt x="2198" y="3175"/>
                </a:lnTo>
                <a:lnTo>
                  <a:pt x="2187" y="3269"/>
                </a:lnTo>
                <a:lnTo>
                  <a:pt x="2168" y="3357"/>
                </a:lnTo>
                <a:lnTo>
                  <a:pt x="2142" y="3445"/>
                </a:lnTo>
                <a:lnTo>
                  <a:pt x="3834" y="4391"/>
                </a:lnTo>
                <a:lnTo>
                  <a:pt x="3898" y="4316"/>
                </a:lnTo>
                <a:lnTo>
                  <a:pt x="3969" y="4246"/>
                </a:lnTo>
                <a:lnTo>
                  <a:pt x="4044" y="4183"/>
                </a:lnTo>
                <a:lnTo>
                  <a:pt x="4126" y="4126"/>
                </a:lnTo>
                <a:lnTo>
                  <a:pt x="4213" y="4078"/>
                </a:lnTo>
                <a:lnTo>
                  <a:pt x="4305" y="4036"/>
                </a:lnTo>
                <a:lnTo>
                  <a:pt x="4400" y="4004"/>
                </a:lnTo>
                <a:lnTo>
                  <a:pt x="4500" y="3980"/>
                </a:lnTo>
                <a:lnTo>
                  <a:pt x="4601" y="3965"/>
                </a:lnTo>
                <a:lnTo>
                  <a:pt x="4706" y="3961"/>
                </a:lnTo>
                <a:lnTo>
                  <a:pt x="4819" y="3967"/>
                </a:lnTo>
                <a:lnTo>
                  <a:pt x="4929" y="3984"/>
                </a:lnTo>
                <a:lnTo>
                  <a:pt x="5034" y="4010"/>
                </a:lnTo>
                <a:lnTo>
                  <a:pt x="5136" y="4048"/>
                </a:lnTo>
                <a:lnTo>
                  <a:pt x="5231" y="4094"/>
                </a:lnTo>
                <a:lnTo>
                  <a:pt x="5323" y="4149"/>
                </a:lnTo>
                <a:lnTo>
                  <a:pt x="5407" y="4213"/>
                </a:lnTo>
                <a:lnTo>
                  <a:pt x="5486" y="4284"/>
                </a:lnTo>
                <a:lnTo>
                  <a:pt x="5558" y="4363"/>
                </a:lnTo>
                <a:lnTo>
                  <a:pt x="5621" y="4447"/>
                </a:lnTo>
                <a:lnTo>
                  <a:pt x="5676" y="4537"/>
                </a:lnTo>
                <a:lnTo>
                  <a:pt x="5723" y="4635"/>
                </a:lnTo>
                <a:lnTo>
                  <a:pt x="5760" y="4736"/>
                </a:lnTo>
                <a:lnTo>
                  <a:pt x="5786" y="4841"/>
                </a:lnTo>
                <a:lnTo>
                  <a:pt x="5803" y="4950"/>
                </a:lnTo>
                <a:lnTo>
                  <a:pt x="5809" y="5063"/>
                </a:lnTo>
                <a:lnTo>
                  <a:pt x="5803" y="5175"/>
                </a:lnTo>
                <a:lnTo>
                  <a:pt x="5786" y="5284"/>
                </a:lnTo>
                <a:lnTo>
                  <a:pt x="5760" y="5391"/>
                </a:lnTo>
                <a:lnTo>
                  <a:pt x="5723" y="5492"/>
                </a:lnTo>
                <a:lnTo>
                  <a:pt x="5676" y="5588"/>
                </a:lnTo>
                <a:lnTo>
                  <a:pt x="5621" y="5678"/>
                </a:lnTo>
                <a:lnTo>
                  <a:pt x="5558" y="5764"/>
                </a:lnTo>
                <a:lnTo>
                  <a:pt x="5486" y="5841"/>
                </a:lnTo>
                <a:lnTo>
                  <a:pt x="5409" y="5913"/>
                </a:lnTo>
                <a:lnTo>
                  <a:pt x="5323" y="5976"/>
                </a:lnTo>
                <a:lnTo>
                  <a:pt x="5233" y="6033"/>
                </a:lnTo>
                <a:lnTo>
                  <a:pt x="5137" y="6078"/>
                </a:lnTo>
                <a:lnTo>
                  <a:pt x="5036" y="6115"/>
                </a:lnTo>
                <a:lnTo>
                  <a:pt x="4929" y="6143"/>
                </a:lnTo>
                <a:lnTo>
                  <a:pt x="4820" y="6158"/>
                </a:lnTo>
                <a:lnTo>
                  <a:pt x="4708" y="6164"/>
                </a:lnTo>
                <a:lnTo>
                  <a:pt x="4595" y="6158"/>
                </a:lnTo>
                <a:lnTo>
                  <a:pt x="4487" y="6143"/>
                </a:lnTo>
                <a:lnTo>
                  <a:pt x="4382" y="6115"/>
                </a:lnTo>
                <a:lnTo>
                  <a:pt x="4280" y="6078"/>
                </a:lnTo>
                <a:lnTo>
                  <a:pt x="4183" y="6031"/>
                </a:lnTo>
                <a:lnTo>
                  <a:pt x="4093" y="5976"/>
                </a:lnTo>
                <a:lnTo>
                  <a:pt x="4008" y="5913"/>
                </a:lnTo>
                <a:lnTo>
                  <a:pt x="3930" y="5841"/>
                </a:lnTo>
                <a:lnTo>
                  <a:pt x="3858" y="5763"/>
                </a:lnTo>
                <a:lnTo>
                  <a:pt x="3794" y="5678"/>
                </a:lnTo>
                <a:lnTo>
                  <a:pt x="3740" y="5588"/>
                </a:lnTo>
                <a:lnTo>
                  <a:pt x="3693" y="5490"/>
                </a:lnTo>
                <a:lnTo>
                  <a:pt x="3656" y="5389"/>
                </a:lnTo>
                <a:lnTo>
                  <a:pt x="3629" y="5284"/>
                </a:lnTo>
                <a:lnTo>
                  <a:pt x="3613" y="5175"/>
                </a:lnTo>
                <a:lnTo>
                  <a:pt x="3607" y="5063"/>
                </a:lnTo>
                <a:lnTo>
                  <a:pt x="3611" y="4967"/>
                </a:lnTo>
                <a:lnTo>
                  <a:pt x="3624" y="4875"/>
                </a:lnTo>
                <a:lnTo>
                  <a:pt x="3643" y="4783"/>
                </a:lnTo>
                <a:lnTo>
                  <a:pt x="3671" y="4695"/>
                </a:lnTo>
                <a:lnTo>
                  <a:pt x="1979" y="3749"/>
                </a:lnTo>
                <a:lnTo>
                  <a:pt x="1915" y="3826"/>
                </a:lnTo>
                <a:lnTo>
                  <a:pt x="1844" y="3896"/>
                </a:lnTo>
                <a:lnTo>
                  <a:pt x="1769" y="3959"/>
                </a:lnTo>
                <a:lnTo>
                  <a:pt x="1686" y="4016"/>
                </a:lnTo>
                <a:lnTo>
                  <a:pt x="1598" y="4066"/>
                </a:lnTo>
                <a:lnTo>
                  <a:pt x="1508" y="4108"/>
                </a:lnTo>
                <a:lnTo>
                  <a:pt x="1411" y="4140"/>
                </a:lnTo>
                <a:lnTo>
                  <a:pt x="1311" y="4164"/>
                </a:lnTo>
                <a:lnTo>
                  <a:pt x="1210" y="4179"/>
                </a:lnTo>
                <a:lnTo>
                  <a:pt x="1103" y="4183"/>
                </a:lnTo>
                <a:lnTo>
                  <a:pt x="990" y="4177"/>
                </a:lnTo>
                <a:lnTo>
                  <a:pt x="882" y="4162"/>
                </a:lnTo>
                <a:lnTo>
                  <a:pt x="777" y="4134"/>
                </a:lnTo>
                <a:lnTo>
                  <a:pt x="675" y="4096"/>
                </a:lnTo>
                <a:lnTo>
                  <a:pt x="578" y="4051"/>
                </a:lnTo>
                <a:lnTo>
                  <a:pt x="488" y="3995"/>
                </a:lnTo>
                <a:lnTo>
                  <a:pt x="403" y="3931"/>
                </a:lnTo>
                <a:lnTo>
                  <a:pt x="325" y="3860"/>
                </a:lnTo>
                <a:lnTo>
                  <a:pt x="253" y="3783"/>
                </a:lnTo>
                <a:lnTo>
                  <a:pt x="190" y="3697"/>
                </a:lnTo>
                <a:lnTo>
                  <a:pt x="135" y="3607"/>
                </a:lnTo>
                <a:lnTo>
                  <a:pt x="88" y="3511"/>
                </a:lnTo>
                <a:lnTo>
                  <a:pt x="51" y="3410"/>
                </a:lnTo>
                <a:lnTo>
                  <a:pt x="23" y="3303"/>
                </a:lnTo>
                <a:lnTo>
                  <a:pt x="6" y="3194"/>
                </a:lnTo>
                <a:lnTo>
                  <a:pt x="0" y="3081"/>
                </a:lnTo>
                <a:lnTo>
                  <a:pt x="6" y="2969"/>
                </a:lnTo>
                <a:lnTo>
                  <a:pt x="23" y="2860"/>
                </a:lnTo>
                <a:lnTo>
                  <a:pt x="51" y="2755"/>
                </a:lnTo>
                <a:lnTo>
                  <a:pt x="88" y="2653"/>
                </a:lnTo>
                <a:lnTo>
                  <a:pt x="133" y="2556"/>
                </a:lnTo>
                <a:lnTo>
                  <a:pt x="190" y="2466"/>
                </a:lnTo>
                <a:lnTo>
                  <a:pt x="253" y="2381"/>
                </a:lnTo>
                <a:lnTo>
                  <a:pt x="325" y="2303"/>
                </a:lnTo>
                <a:lnTo>
                  <a:pt x="403" y="2231"/>
                </a:lnTo>
                <a:lnTo>
                  <a:pt x="488" y="2167"/>
                </a:lnTo>
                <a:lnTo>
                  <a:pt x="578" y="2113"/>
                </a:lnTo>
                <a:lnTo>
                  <a:pt x="675" y="2066"/>
                </a:lnTo>
                <a:lnTo>
                  <a:pt x="775" y="2029"/>
                </a:lnTo>
                <a:lnTo>
                  <a:pt x="882" y="2002"/>
                </a:lnTo>
                <a:lnTo>
                  <a:pt x="990" y="1985"/>
                </a:lnTo>
                <a:lnTo>
                  <a:pt x="1103" y="1980"/>
                </a:lnTo>
                <a:lnTo>
                  <a:pt x="1208" y="1984"/>
                </a:lnTo>
                <a:lnTo>
                  <a:pt x="1311" y="1999"/>
                </a:lnTo>
                <a:lnTo>
                  <a:pt x="1411" y="2023"/>
                </a:lnTo>
                <a:lnTo>
                  <a:pt x="1506" y="2055"/>
                </a:lnTo>
                <a:lnTo>
                  <a:pt x="1598" y="2096"/>
                </a:lnTo>
                <a:lnTo>
                  <a:pt x="1684" y="2145"/>
                </a:lnTo>
                <a:lnTo>
                  <a:pt x="1767" y="2203"/>
                </a:lnTo>
                <a:lnTo>
                  <a:pt x="1842" y="2265"/>
                </a:lnTo>
                <a:lnTo>
                  <a:pt x="1913" y="2336"/>
                </a:lnTo>
                <a:lnTo>
                  <a:pt x="1977" y="2411"/>
                </a:lnTo>
                <a:lnTo>
                  <a:pt x="3667" y="1468"/>
                </a:lnTo>
                <a:lnTo>
                  <a:pt x="3639" y="1381"/>
                </a:lnTo>
                <a:lnTo>
                  <a:pt x="3620" y="1291"/>
                </a:lnTo>
                <a:lnTo>
                  <a:pt x="3609" y="1197"/>
                </a:lnTo>
                <a:lnTo>
                  <a:pt x="3603" y="1102"/>
                </a:lnTo>
                <a:lnTo>
                  <a:pt x="3609" y="989"/>
                </a:lnTo>
                <a:lnTo>
                  <a:pt x="3626" y="880"/>
                </a:lnTo>
                <a:lnTo>
                  <a:pt x="3654" y="775"/>
                </a:lnTo>
                <a:lnTo>
                  <a:pt x="3691" y="674"/>
                </a:lnTo>
                <a:lnTo>
                  <a:pt x="3736" y="578"/>
                </a:lnTo>
                <a:lnTo>
                  <a:pt x="3793" y="486"/>
                </a:lnTo>
                <a:lnTo>
                  <a:pt x="3856" y="402"/>
                </a:lnTo>
                <a:lnTo>
                  <a:pt x="3928" y="323"/>
                </a:lnTo>
                <a:lnTo>
                  <a:pt x="4005" y="252"/>
                </a:lnTo>
                <a:lnTo>
                  <a:pt x="4091" y="190"/>
                </a:lnTo>
                <a:lnTo>
                  <a:pt x="4181" y="133"/>
                </a:lnTo>
                <a:lnTo>
                  <a:pt x="4277" y="87"/>
                </a:lnTo>
                <a:lnTo>
                  <a:pt x="4378" y="51"/>
                </a:lnTo>
                <a:lnTo>
                  <a:pt x="4483" y="23"/>
                </a:lnTo>
                <a:lnTo>
                  <a:pt x="4593" y="6"/>
                </a:lnTo>
                <a:lnTo>
                  <a:pt x="4706"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nvGrpSpPr>
          <p:cNvPr id="22" name="Group 514">
            <a:extLst>
              <a:ext uri="{FF2B5EF4-FFF2-40B4-BE49-F238E27FC236}">
                <a16:creationId xmlns:a16="http://schemas.microsoft.com/office/drawing/2014/main" id="{AC65CD69-1E4A-4630-9B78-E8D140DDEF91}"/>
              </a:ext>
            </a:extLst>
          </p:cNvPr>
          <p:cNvGrpSpPr/>
          <p:nvPr/>
        </p:nvGrpSpPr>
        <p:grpSpPr>
          <a:xfrm>
            <a:off x="658227" y="2794177"/>
            <a:ext cx="350419" cy="308992"/>
            <a:chOff x="6381750" y="1941513"/>
            <a:chExt cx="4887913" cy="4310063"/>
          </a:xfrm>
          <a:solidFill>
            <a:srgbClr val="1B9D91"/>
          </a:solidFill>
        </p:grpSpPr>
        <p:sp>
          <p:nvSpPr>
            <p:cNvPr id="23" name="Freeform 156">
              <a:extLst>
                <a:ext uri="{FF2B5EF4-FFF2-40B4-BE49-F238E27FC236}">
                  <a16:creationId xmlns:a16="http://schemas.microsoft.com/office/drawing/2014/main" id="{183C36E8-A3BE-436E-9449-4202AF49708E}"/>
                </a:ext>
              </a:extLst>
            </p:cNvPr>
            <p:cNvSpPr>
              <a:spLocks/>
            </p:cNvSpPr>
            <p:nvPr/>
          </p:nvSpPr>
          <p:spPr bwMode="auto">
            <a:xfrm>
              <a:off x="6381750" y="4510088"/>
              <a:ext cx="2881313" cy="930275"/>
            </a:xfrm>
            <a:custGeom>
              <a:avLst/>
              <a:gdLst>
                <a:gd name="T0" fmla="*/ 2217 w 3629"/>
                <a:gd name="T1" fmla="*/ 12 h 1173"/>
                <a:gd name="T2" fmla="*/ 3517 w 3629"/>
                <a:gd name="T3" fmla="*/ 391 h 1173"/>
                <a:gd name="T4" fmla="*/ 3603 w 3629"/>
                <a:gd name="T5" fmla="*/ 456 h 1173"/>
                <a:gd name="T6" fmla="*/ 3629 w 3629"/>
                <a:gd name="T7" fmla="*/ 566 h 1173"/>
                <a:gd name="T8" fmla="*/ 3613 w 3629"/>
                <a:gd name="T9" fmla="*/ 702 h 1173"/>
                <a:gd name="T10" fmla="*/ 3559 w 3629"/>
                <a:gd name="T11" fmla="*/ 844 h 1173"/>
                <a:gd name="T12" fmla="*/ 3461 w 3629"/>
                <a:gd name="T13" fmla="*/ 971 h 1173"/>
                <a:gd name="T14" fmla="*/ 3312 w 3629"/>
                <a:gd name="T15" fmla="*/ 1065 h 1173"/>
                <a:gd name="T16" fmla="*/ 3109 w 3629"/>
                <a:gd name="T17" fmla="*/ 1111 h 1173"/>
                <a:gd name="T18" fmla="*/ 2881 w 3629"/>
                <a:gd name="T19" fmla="*/ 1130 h 1173"/>
                <a:gd name="T20" fmla="*/ 2650 w 3629"/>
                <a:gd name="T21" fmla="*/ 1136 h 1173"/>
                <a:gd name="T22" fmla="*/ 2444 w 3629"/>
                <a:gd name="T23" fmla="*/ 1134 h 1173"/>
                <a:gd name="T24" fmla="*/ 2295 w 3629"/>
                <a:gd name="T25" fmla="*/ 1128 h 1173"/>
                <a:gd name="T26" fmla="*/ 2230 w 3629"/>
                <a:gd name="T27" fmla="*/ 1124 h 1173"/>
                <a:gd name="T28" fmla="*/ 2124 w 3629"/>
                <a:gd name="T29" fmla="*/ 1072 h 1173"/>
                <a:gd name="T30" fmla="*/ 2086 w 3629"/>
                <a:gd name="T31" fmla="*/ 962 h 1173"/>
                <a:gd name="T32" fmla="*/ 2137 w 3629"/>
                <a:gd name="T33" fmla="*/ 857 h 1173"/>
                <a:gd name="T34" fmla="*/ 2249 w 3629"/>
                <a:gd name="T35" fmla="*/ 818 h 1173"/>
                <a:gd name="T36" fmla="*/ 2303 w 3629"/>
                <a:gd name="T37" fmla="*/ 822 h 1173"/>
                <a:gd name="T38" fmla="*/ 2443 w 3629"/>
                <a:gd name="T39" fmla="*/ 826 h 1173"/>
                <a:gd name="T40" fmla="*/ 2637 w 3629"/>
                <a:gd name="T41" fmla="*/ 829 h 1173"/>
                <a:gd name="T42" fmla="*/ 2855 w 3629"/>
                <a:gd name="T43" fmla="*/ 824 h 1173"/>
                <a:gd name="T44" fmla="*/ 3068 w 3629"/>
                <a:gd name="T45" fmla="*/ 809 h 1173"/>
                <a:gd name="T46" fmla="*/ 3223 w 3629"/>
                <a:gd name="T47" fmla="*/ 770 h 1173"/>
                <a:gd name="T48" fmla="*/ 3303 w 3629"/>
                <a:gd name="T49" fmla="*/ 671 h 1173"/>
                <a:gd name="T50" fmla="*/ 3308 w 3629"/>
                <a:gd name="T51" fmla="*/ 650 h 1173"/>
                <a:gd name="T52" fmla="*/ 2155 w 3629"/>
                <a:gd name="T53" fmla="*/ 316 h 1173"/>
                <a:gd name="T54" fmla="*/ 1929 w 3629"/>
                <a:gd name="T55" fmla="*/ 314 h 1173"/>
                <a:gd name="T56" fmla="*/ 1720 w 3629"/>
                <a:gd name="T57" fmla="*/ 348 h 1173"/>
                <a:gd name="T58" fmla="*/ 1541 w 3629"/>
                <a:gd name="T59" fmla="*/ 400 h 1173"/>
                <a:gd name="T60" fmla="*/ 1413 w 3629"/>
                <a:gd name="T61" fmla="*/ 449 h 1173"/>
                <a:gd name="T62" fmla="*/ 1347 w 3629"/>
                <a:gd name="T63" fmla="*/ 478 h 1173"/>
                <a:gd name="T64" fmla="*/ 153 w 3629"/>
                <a:gd name="T65" fmla="*/ 1173 h 1173"/>
                <a:gd name="T66" fmla="*/ 65 w 3629"/>
                <a:gd name="T67" fmla="*/ 1145 h 1173"/>
                <a:gd name="T68" fmla="*/ 7 w 3629"/>
                <a:gd name="T69" fmla="*/ 1066 h 1173"/>
                <a:gd name="T70" fmla="*/ 9 w 3629"/>
                <a:gd name="T71" fmla="*/ 966 h 1173"/>
                <a:gd name="T72" fmla="*/ 75 w 3629"/>
                <a:gd name="T73" fmla="*/ 887 h 1173"/>
                <a:gd name="T74" fmla="*/ 1200 w 3629"/>
                <a:gd name="T75" fmla="*/ 206 h 1173"/>
                <a:gd name="T76" fmla="*/ 1230 w 3629"/>
                <a:gd name="T77" fmla="*/ 193 h 1173"/>
                <a:gd name="T78" fmla="*/ 1332 w 3629"/>
                <a:gd name="T79" fmla="*/ 148 h 1173"/>
                <a:gd name="T80" fmla="*/ 1498 w 3629"/>
                <a:gd name="T81" fmla="*/ 88 h 1173"/>
                <a:gd name="T82" fmla="*/ 1711 w 3629"/>
                <a:gd name="T83" fmla="*/ 34 h 1173"/>
                <a:gd name="T84" fmla="*/ 1956 w 3629"/>
                <a:gd name="T85" fmla="*/ 2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29" h="1173">
                  <a:moveTo>
                    <a:pt x="2041" y="0"/>
                  </a:moveTo>
                  <a:lnTo>
                    <a:pt x="2129" y="4"/>
                  </a:lnTo>
                  <a:lnTo>
                    <a:pt x="2217" y="12"/>
                  </a:lnTo>
                  <a:lnTo>
                    <a:pt x="2305" y="28"/>
                  </a:lnTo>
                  <a:lnTo>
                    <a:pt x="2392" y="51"/>
                  </a:lnTo>
                  <a:lnTo>
                    <a:pt x="3517" y="391"/>
                  </a:lnTo>
                  <a:lnTo>
                    <a:pt x="3551" y="406"/>
                  </a:lnTo>
                  <a:lnTo>
                    <a:pt x="3581" y="428"/>
                  </a:lnTo>
                  <a:lnTo>
                    <a:pt x="3603" y="456"/>
                  </a:lnTo>
                  <a:lnTo>
                    <a:pt x="3618" y="488"/>
                  </a:lnTo>
                  <a:lnTo>
                    <a:pt x="3626" y="523"/>
                  </a:lnTo>
                  <a:lnTo>
                    <a:pt x="3629" y="566"/>
                  </a:lnTo>
                  <a:lnTo>
                    <a:pt x="3628" y="609"/>
                  </a:lnTo>
                  <a:lnTo>
                    <a:pt x="3622" y="656"/>
                  </a:lnTo>
                  <a:lnTo>
                    <a:pt x="3613" y="702"/>
                  </a:lnTo>
                  <a:lnTo>
                    <a:pt x="3600" y="751"/>
                  </a:lnTo>
                  <a:lnTo>
                    <a:pt x="3583" y="798"/>
                  </a:lnTo>
                  <a:lnTo>
                    <a:pt x="3559" y="844"/>
                  </a:lnTo>
                  <a:lnTo>
                    <a:pt x="3532" y="889"/>
                  </a:lnTo>
                  <a:lnTo>
                    <a:pt x="3499" y="932"/>
                  </a:lnTo>
                  <a:lnTo>
                    <a:pt x="3461" y="971"/>
                  </a:lnTo>
                  <a:lnTo>
                    <a:pt x="3417" y="1007"/>
                  </a:lnTo>
                  <a:lnTo>
                    <a:pt x="3368" y="1038"/>
                  </a:lnTo>
                  <a:lnTo>
                    <a:pt x="3312" y="1065"/>
                  </a:lnTo>
                  <a:lnTo>
                    <a:pt x="3249" y="1087"/>
                  </a:lnTo>
                  <a:lnTo>
                    <a:pt x="3180" y="1102"/>
                  </a:lnTo>
                  <a:lnTo>
                    <a:pt x="3109" y="1111"/>
                  </a:lnTo>
                  <a:lnTo>
                    <a:pt x="3036" y="1119"/>
                  </a:lnTo>
                  <a:lnTo>
                    <a:pt x="2960" y="1126"/>
                  </a:lnTo>
                  <a:lnTo>
                    <a:pt x="2881" y="1130"/>
                  </a:lnTo>
                  <a:lnTo>
                    <a:pt x="2803" y="1134"/>
                  </a:lnTo>
                  <a:lnTo>
                    <a:pt x="2724" y="1136"/>
                  </a:lnTo>
                  <a:lnTo>
                    <a:pt x="2650" y="1136"/>
                  </a:lnTo>
                  <a:lnTo>
                    <a:pt x="2577" y="1136"/>
                  </a:lnTo>
                  <a:lnTo>
                    <a:pt x="2508" y="1136"/>
                  </a:lnTo>
                  <a:lnTo>
                    <a:pt x="2444" y="1134"/>
                  </a:lnTo>
                  <a:lnTo>
                    <a:pt x="2387" y="1132"/>
                  </a:lnTo>
                  <a:lnTo>
                    <a:pt x="2336" y="1130"/>
                  </a:lnTo>
                  <a:lnTo>
                    <a:pt x="2295" y="1128"/>
                  </a:lnTo>
                  <a:lnTo>
                    <a:pt x="2262" y="1126"/>
                  </a:lnTo>
                  <a:lnTo>
                    <a:pt x="2239" y="1124"/>
                  </a:lnTo>
                  <a:lnTo>
                    <a:pt x="2230" y="1124"/>
                  </a:lnTo>
                  <a:lnTo>
                    <a:pt x="2189" y="1117"/>
                  </a:lnTo>
                  <a:lnTo>
                    <a:pt x="2153" y="1098"/>
                  </a:lnTo>
                  <a:lnTo>
                    <a:pt x="2124" y="1072"/>
                  </a:lnTo>
                  <a:lnTo>
                    <a:pt x="2101" y="1040"/>
                  </a:lnTo>
                  <a:lnTo>
                    <a:pt x="2088" y="1003"/>
                  </a:lnTo>
                  <a:lnTo>
                    <a:pt x="2086" y="962"/>
                  </a:lnTo>
                  <a:lnTo>
                    <a:pt x="2094" y="921"/>
                  </a:lnTo>
                  <a:lnTo>
                    <a:pt x="2112" y="885"/>
                  </a:lnTo>
                  <a:lnTo>
                    <a:pt x="2137" y="857"/>
                  </a:lnTo>
                  <a:lnTo>
                    <a:pt x="2170" y="835"/>
                  </a:lnTo>
                  <a:lnTo>
                    <a:pt x="2208" y="822"/>
                  </a:lnTo>
                  <a:lnTo>
                    <a:pt x="2249" y="818"/>
                  </a:lnTo>
                  <a:lnTo>
                    <a:pt x="2256" y="818"/>
                  </a:lnTo>
                  <a:lnTo>
                    <a:pt x="2275" y="820"/>
                  </a:lnTo>
                  <a:lnTo>
                    <a:pt x="2303" y="822"/>
                  </a:lnTo>
                  <a:lnTo>
                    <a:pt x="2342" y="824"/>
                  </a:lnTo>
                  <a:lnTo>
                    <a:pt x="2389" y="824"/>
                  </a:lnTo>
                  <a:lnTo>
                    <a:pt x="2443" y="826"/>
                  </a:lnTo>
                  <a:lnTo>
                    <a:pt x="2502" y="828"/>
                  </a:lnTo>
                  <a:lnTo>
                    <a:pt x="2568" y="829"/>
                  </a:lnTo>
                  <a:lnTo>
                    <a:pt x="2637" y="829"/>
                  </a:lnTo>
                  <a:lnTo>
                    <a:pt x="2708" y="828"/>
                  </a:lnTo>
                  <a:lnTo>
                    <a:pt x="2780" y="828"/>
                  </a:lnTo>
                  <a:lnTo>
                    <a:pt x="2855" y="824"/>
                  </a:lnTo>
                  <a:lnTo>
                    <a:pt x="2928" y="820"/>
                  </a:lnTo>
                  <a:lnTo>
                    <a:pt x="2999" y="814"/>
                  </a:lnTo>
                  <a:lnTo>
                    <a:pt x="3068" y="809"/>
                  </a:lnTo>
                  <a:lnTo>
                    <a:pt x="3131" y="800"/>
                  </a:lnTo>
                  <a:lnTo>
                    <a:pt x="3182" y="788"/>
                  </a:lnTo>
                  <a:lnTo>
                    <a:pt x="3223" y="770"/>
                  </a:lnTo>
                  <a:lnTo>
                    <a:pt x="3256" y="744"/>
                  </a:lnTo>
                  <a:lnTo>
                    <a:pt x="3282" y="712"/>
                  </a:lnTo>
                  <a:lnTo>
                    <a:pt x="3303" y="671"/>
                  </a:lnTo>
                  <a:lnTo>
                    <a:pt x="3305" y="665"/>
                  </a:lnTo>
                  <a:lnTo>
                    <a:pt x="3307" y="658"/>
                  </a:lnTo>
                  <a:lnTo>
                    <a:pt x="3308" y="650"/>
                  </a:lnTo>
                  <a:lnTo>
                    <a:pt x="2305" y="346"/>
                  </a:lnTo>
                  <a:lnTo>
                    <a:pt x="2230" y="327"/>
                  </a:lnTo>
                  <a:lnTo>
                    <a:pt x="2155" y="316"/>
                  </a:lnTo>
                  <a:lnTo>
                    <a:pt x="2079" y="310"/>
                  </a:lnTo>
                  <a:lnTo>
                    <a:pt x="2004" y="309"/>
                  </a:lnTo>
                  <a:lnTo>
                    <a:pt x="1929" y="314"/>
                  </a:lnTo>
                  <a:lnTo>
                    <a:pt x="1857" y="322"/>
                  </a:lnTo>
                  <a:lnTo>
                    <a:pt x="1788" y="333"/>
                  </a:lnTo>
                  <a:lnTo>
                    <a:pt x="1720" y="348"/>
                  </a:lnTo>
                  <a:lnTo>
                    <a:pt x="1655" y="365"/>
                  </a:lnTo>
                  <a:lnTo>
                    <a:pt x="1595" y="381"/>
                  </a:lnTo>
                  <a:lnTo>
                    <a:pt x="1541" y="400"/>
                  </a:lnTo>
                  <a:lnTo>
                    <a:pt x="1493" y="417"/>
                  </a:lnTo>
                  <a:lnTo>
                    <a:pt x="1448" y="434"/>
                  </a:lnTo>
                  <a:lnTo>
                    <a:pt x="1413" y="449"/>
                  </a:lnTo>
                  <a:lnTo>
                    <a:pt x="1383" y="462"/>
                  </a:lnTo>
                  <a:lnTo>
                    <a:pt x="1360" y="473"/>
                  </a:lnTo>
                  <a:lnTo>
                    <a:pt x="1347" y="478"/>
                  </a:lnTo>
                  <a:lnTo>
                    <a:pt x="233" y="1151"/>
                  </a:lnTo>
                  <a:lnTo>
                    <a:pt x="194" y="1167"/>
                  </a:lnTo>
                  <a:lnTo>
                    <a:pt x="153" y="1173"/>
                  </a:lnTo>
                  <a:lnTo>
                    <a:pt x="123" y="1169"/>
                  </a:lnTo>
                  <a:lnTo>
                    <a:pt x="93" y="1160"/>
                  </a:lnTo>
                  <a:lnTo>
                    <a:pt x="65" y="1145"/>
                  </a:lnTo>
                  <a:lnTo>
                    <a:pt x="41" y="1124"/>
                  </a:lnTo>
                  <a:lnTo>
                    <a:pt x="22" y="1098"/>
                  </a:lnTo>
                  <a:lnTo>
                    <a:pt x="7" y="1066"/>
                  </a:lnTo>
                  <a:lnTo>
                    <a:pt x="0" y="1033"/>
                  </a:lnTo>
                  <a:lnTo>
                    <a:pt x="2" y="999"/>
                  </a:lnTo>
                  <a:lnTo>
                    <a:pt x="9" y="966"/>
                  </a:lnTo>
                  <a:lnTo>
                    <a:pt x="24" y="936"/>
                  </a:lnTo>
                  <a:lnTo>
                    <a:pt x="47" y="910"/>
                  </a:lnTo>
                  <a:lnTo>
                    <a:pt x="75" y="887"/>
                  </a:lnTo>
                  <a:lnTo>
                    <a:pt x="1194" y="210"/>
                  </a:lnTo>
                  <a:lnTo>
                    <a:pt x="1196" y="208"/>
                  </a:lnTo>
                  <a:lnTo>
                    <a:pt x="1200" y="206"/>
                  </a:lnTo>
                  <a:lnTo>
                    <a:pt x="1204" y="206"/>
                  </a:lnTo>
                  <a:lnTo>
                    <a:pt x="1211" y="200"/>
                  </a:lnTo>
                  <a:lnTo>
                    <a:pt x="1230" y="193"/>
                  </a:lnTo>
                  <a:lnTo>
                    <a:pt x="1256" y="180"/>
                  </a:lnTo>
                  <a:lnTo>
                    <a:pt x="1291" y="165"/>
                  </a:lnTo>
                  <a:lnTo>
                    <a:pt x="1332" y="148"/>
                  </a:lnTo>
                  <a:lnTo>
                    <a:pt x="1381" y="129"/>
                  </a:lnTo>
                  <a:lnTo>
                    <a:pt x="1437" y="109"/>
                  </a:lnTo>
                  <a:lnTo>
                    <a:pt x="1498" y="88"/>
                  </a:lnTo>
                  <a:lnTo>
                    <a:pt x="1564" y="70"/>
                  </a:lnTo>
                  <a:lnTo>
                    <a:pt x="1635" y="51"/>
                  </a:lnTo>
                  <a:lnTo>
                    <a:pt x="1711" y="34"/>
                  </a:lnTo>
                  <a:lnTo>
                    <a:pt x="1790" y="21"/>
                  </a:lnTo>
                  <a:lnTo>
                    <a:pt x="1872" y="10"/>
                  </a:lnTo>
                  <a:lnTo>
                    <a:pt x="1956" y="2"/>
                  </a:lnTo>
                  <a:lnTo>
                    <a:pt x="20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4" name="Freeform 157">
              <a:extLst>
                <a:ext uri="{FF2B5EF4-FFF2-40B4-BE49-F238E27FC236}">
                  <a16:creationId xmlns:a16="http://schemas.microsoft.com/office/drawing/2014/main" id="{6BD70E1F-7237-42FE-BA69-20CF827A8A64}"/>
                </a:ext>
              </a:extLst>
            </p:cNvPr>
            <p:cNvSpPr>
              <a:spLocks/>
            </p:cNvSpPr>
            <p:nvPr/>
          </p:nvSpPr>
          <p:spPr bwMode="auto">
            <a:xfrm>
              <a:off x="6904038" y="4344988"/>
              <a:ext cx="4365625" cy="1906588"/>
            </a:xfrm>
            <a:custGeom>
              <a:avLst/>
              <a:gdLst>
                <a:gd name="T0" fmla="*/ 5105 w 5499"/>
                <a:gd name="T1" fmla="*/ 13 h 2403"/>
                <a:gd name="T2" fmla="*/ 5260 w 5499"/>
                <a:gd name="T3" fmla="*/ 75 h 2403"/>
                <a:gd name="T4" fmla="*/ 5379 w 5499"/>
                <a:gd name="T5" fmla="*/ 167 h 2403"/>
                <a:gd name="T6" fmla="*/ 5460 w 5499"/>
                <a:gd name="T7" fmla="*/ 267 h 2403"/>
                <a:gd name="T8" fmla="*/ 5499 w 5499"/>
                <a:gd name="T9" fmla="*/ 368 h 2403"/>
                <a:gd name="T10" fmla="*/ 5463 w 5499"/>
                <a:gd name="T11" fmla="*/ 469 h 2403"/>
                <a:gd name="T12" fmla="*/ 3127 w 5499"/>
                <a:gd name="T13" fmla="*/ 2181 h 2403"/>
                <a:gd name="T14" fmla="*/ 2855 w 5499"/>
                <a:gd name="T15" fmla="*/ 2291 h 2403"/>
                <a:gd name="T16" fmla="*/ 2562 w 5499"/>
                <a:gd name="T17" fmla="*/ 2317 h 2403"/>
                <a:gd name="T18" fmla="*/ 252 w 5499"/>
                <a:gd name="T19" fmla="*/ 2368 h 2403"/>
                <a:gd name="T20" fmla="*/ 155 w 5499"/>
                <a:gd name="T21" fmla="*/ 2403 h 2403"/>
                <a:gd name="T22" fmla="*/ 61 w 5499"/>
                <a:gd name="T23" fmla="*/ 2373 h 2403"/>
                <a:gd name="T24" fmla="*/ 3 w 5499"/>
                <a:gd name="T25" fmla="*/ 2287 h 2403"/>
                <a:gd name="T26" fmla="*/ 13 w 5499"/>
                <a:gd name="T27" fmla="*/ 2187 h 2403"/>
                <a:gd name="T28" fmla="*/ 526 w 5499"/>
                <a:gd name="T29" fmla="*/ 1738 h 2403"/>
                <a:gd name="T30" fmla="*/ 615 w 5499"/>
                <a:gd name="T31" fmla="*/ 1705 h 2403"/>
                <a:gd name="T32" fmla="*/ 2588 w 5499"/>
                <a:gd name="T33" fmla="*/ 2011 h 2403"/>
                <a:gd name="T34" fmla="*/ 2819 w 5499"/>
                <a:gd name="T35" fmla="*/ 1981 h 2403"/>
                <a:gd name="T36" fmla="*/ 3028 w 5499"/>
                <a:gd name="T37" fmla="*/ 1877 h 2403"/>
                <a:gd name="T38" fmla="*/ 5109 w 5499"/>
                <a:gd name="T39" fmla="*/ 344 h 2403"/>
                <a:gd name="T40" fmla="*/ 4976 w 5499"/>
                <a:gd name="T41" fmla="*/ 307 h 2403"/>
                <a:gd name="T42" fmla="*/ 4823 w 5499"/>
                <a:gd name="T43" fmla="*/ 344 h 2403"/>
                <a:gd name="T44" fmla="*/ 4650 w 5499"/>
                <a:gd name="T45" fmla="*/ 422 h 2403"/>
                <a:gd name="T46" fmla="*/ 4450 w 5499"/>
                <a:gd name="T47" fmla="*/ 514 h 2403"/>
                <a:gd name="T48" fmla="*/ 4239 w 5499"/>
                <a:gd name="T49" fmla="*/ 613 h 2403"/>
                <a:gd name="T50" fmla="*/ 4032 w 5499"/>
                <a:gd name="T51" fmla="*/ 712 h 2403"/>
                <a:gd name="T52" fmla="*/ 3849 w 5499"/>
                <a:gd name="T53" fmla="*/ 799 h 2403"/>
                <a:gd name="T54" fmla="*/ 3706 w 5499"/>
                <a:gd name="T55" fmla="*/ 869 h 2403"/>
                <a:gd name="T56" fmla="*/ 3616 w 5499"/>
                <a:gd name="T57" fmla="*/ 910 h 2403"/>
                <a:gd name="T58" fmla="*/ 3562 w 5499"/>
                <a:gd name="T59" fmla="*/ 932 h 2403"/>
                <a:gd name="T60" fmla="*/ 3463 w 5499"/>
                <a:gd name="T61" fmla="*/ 921 h 2403"/>
                <a:gd name="T62" fmla="*/ 3390 w 5499"/>
                <a:gd name="T63" fmla="*/ 848 h 2403"/>
                <a:gd name="T64" fmla="*/ 3379 w 5499"/>
                <a:gd name="T65" fmla="*/ 747 h 2403"/>
                <a:gd name="T66" fmla="*/ 3433 w 5499"/>
                <a:gd name="T67" fmla="*/ 663 h 2403"/>
                <a:gd name="T68" fmla="*/ 3484 w 5499"/>
                <a:gd name="T69" fmla="*/ 633 h 2403"/>
                <a:gd name="T70" fmla="*/ 3573 w 5499"/>
                <a:gd name="T71" fmla="*/ 590 h 2403"/>
                <a:gd name="T72" fmla="*/ 3719 w 5499"/>
                <a:gd name="T73" fmla="*/ 521 h 2403"/>
                <a:gd name="T74" fmla="*/ 3903 w 5499"/>
                <a:gd name="T75" fmla="*/ 434 h 2403"/>
                <a:gd name="T76" fmla="*/ 4111 w 5499"/>
                <a:gd name="T77" fmla="*/ 336 h 2403"/>
                <a:gd name="T78" fmla="*/ 4323 w 5499"/>
                <a:gd name="T79" fmla="*/ 236 h 2403"/>
                <a:gd name="T80" fmla="*/ 4525 w 5499"/>
                <a:gd name="T81" fmla="*/ 142 h 2403"/>
                <a:gd name="T82" fmla="*/ 4698 w 5499"/>
                <a:gd name="T83" fmla="*/ 64 h 2403"/>
                <a:gd name="T84" fmla="*/ 4919 w 5499"/>
                <a:gd name="T85" fmla="*/ 2 h 2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99" h="2403">
                  <a:moveTo>
                    <a:pt x="4984" y="0"/>
                  </a:moveTo>
                  <a:lnTo>
                    <a:pt x="5047" y="4"/>
                  </a:lnTo>
                  <a:lnTo>
                    <a:pt x="5105" y="13"/>
                  </a:lnTo>
                  <a:lnTo>
                    <a:pt x="5161" y="30"/>
                  </a:lnTo>
                  <a:lnTo>
                    <a:pt x="5211" y="51"/>
                  </a:lnTo>
                  <a:lnTo>
                    <a:pt x="5260" y="75"/>
                  </a:lnTo>
                  <a:lnTo>
                    <a:pt x="5303" y="105"/>
                  </a:lnTo>
                  <a:lnTo>
                    <a:pt x="5344" y="135"/>
                  </a:lnTo>
                  <a:lnTo>
                    <a:pt x="5379" y="167"/>
                  </a:lnTo>
                  <a:lnTo>
                    <a:pt x="5409" y="200"/>
                  </a:lnTo>
                  <a:lnTo>
                    <a:pt x="5437" y="234"/>
                  </a:lnTo>
                  <a:lnTo>
                    <a:pt x="5460" y="267"/>
                  </a:lnTo>
                  <a:lnTo>
                    <a:pt x="5478" y="297"/>
                  </a:lnTo>
                  <a:lnTo>
                    <a:pt x="5493" y="333"/>
                  </a:lnTo>
                  <a:lnTo>
                    <a:pt x="5499" y="368"/>
                  </a:lnTo>
                  <a:lnTo>
                    <a:pt x="5495" y="404"/>
                  </a:lnTo>
                  <a:lnTo>
                    <a:pt x="5482" y="439"/>
                  </a:lnTo>
                  <a:lnTo>
                    <a:pt x="5463" y="469"/>
                  </a:lnTo>
                  <a:lnTo>
                    <a:pt x="5437" y="495"/>
                  </a:lnTo>
                  <a:lnTo>
                    <a:pt x="3211" y="2125"/>
                  </a:lnTo>
                  <a:lnTo>
                    <a:pt x="3127" y="2181"/>
                  </a:lnTo>
                  <a:lnTo>
                    <a:pt x="3041" y="2226"/>
                  </a:lnTo>
                  <a:lnTo>
                    <a:pt x="2950" y="2263"/>
                  </a:lnTo>
                  <a:lnTo>
                    <a:pt x="2855" y="2291"/>
                  </a:lnTo>
                  <a:lnTo>
                    <a:pt x="2758" y="2310"/>
                  </a:lnTo>
                  <a:lnTo>
                    <a:pt x="2661" y="2317"/>
                  </a:lnTo>
                  <a:lnTo>
                    <a:pt x="2562" y="2317"/>
                  </a:lnTo>
                  <a:lnTo>
                    <a:pt x="2463" y="2306"/>
                  </a:lnTo>
                  <a:lnTo>
                    <a:pt x="670" y="2020"/>
                  </a:lnTo>
                  <a:lnTo>
                    <a:pt x="252" y="2368"/>
                  </a:lnTo>
                  <a:lnTo>
                    <a:pt x="222" y="2388"/>
                  </a:lnTo>
                  <a:lnTo>
                    <a:pt x="188" y="2399"/>
                  </a:lnTo>
                  <a:lnTo>
                    <a:pt x="155" y="2403"/>
                  </a:lnTo>
                  <a:lnTo>
                    <a:pt x="121" y="2399"/>
                  </a:lnTo>
                  <a:lnTo>
                    <a:pt x="89" y="2390"/>
                  </a:lnTo>
                  <a:lnTo>
                    <a:pt x="61" y="2373"/>
                  </a:lnTo>
                  <a:lnTo>
                    <a:pt x="35" y="2349"/>
                  </a:lnTo>
                  <a:lnTo>
                    <a:pt x="16" y="2319"/>
                  </a:lnTo>
                  <a:lnTo>
                    <a:pt x="3" y="2287"/>
                  </a:lnTo>
                  <a:lnTo>
                    <a:pt x="0" y="2254"/>
                  </a:lnTo>
                  <a:lnTo>
                    <a:pt x="3" y="2220"/>
                  </a:lnTo>
                  <a:lnTo>
                    <a:pt x="13" y="2187"/>
                  </a:lnTo>
                  <a:lnTo>
                    <a:pt x="31" y="2159"/>
                  </a:lnTo>
                  <a:lnTo>
                    <a:pt x="56" y="2132"/>
                  </a:lnTo>
                  <a:lnTo>
                    <a:pt x="526" y="1738"/>
                  </a:lnTo>
                  <a:lnTo>
                    <a:pt x="554" y="1722"/>
                  </a:lnTo>
                  <a:lnTo>
                    <a:pt x="584" y="1710"/>
                  </a:lnTo>
                  <a:lnTo>
                    <a:pt x="615" y="1705"/>
                  </a:lnTo>
                  <a:lnTo>
                    <a:pt x="649" y="1707"/>
                  </a:lnTo>
                  <a:lnTo>
                    <a:pt x="2511" y="2004"/>
                  </a:lnTo>
                  <a:lnTo>
                    <a:pt x="2588" y="2011"/>
                  </a:lnTo>
                  <a:lnTo>
                    <a:pt x="2666" y="2009"/>
                  </a:lnTo>
                  <a:lnTo>
                    <a:pt x="2743" y="2000"/>
                  </a:lnTo>
                  <a:lnTo>
                    <a:pt x="2819" y="1981"/>
                  </a:lnTo>
                  <a:lnTo>
                    <a:pt x="2892" y="1955"/>
                  </a:lnTo>
                  <a:lnTo>
                    <a:pt x="2961" y="1920"/>
                  </a:lnTo>
                  <a:lnTo>
                    <a:pt x="3028" y="1877"/>
                  </a:lnTo>
                  <a:lnTo>
                    <a:pt x="5114" y="348"/>
                  </a:lnTo>
                  <a:lnTo>
                    <a:pt x="5111" y="346"/>
                  </a:lnTo>
                  <a:lnTo>
                    <a:pt x="5109" y="344"/>
                  </a:lnTo>
                  <a:lnTo>
                    <a:pt x="5066" y="323"/>
                  </a:lnTo>
                  <a:lnTo>
                    <a:pt x="5023" y="310"/>
                  </a:lnTo>
                  <a:lnTo>
                    <a:pt x="4976" y="307"/>
                  </a:lnTo>
                  <a:lnTo>
                    <a:pt x="4928" y="310"/>
                  </a:lnTo>
                  <a:lnTo>
                    <a:pt x="4877" y="323"/>
                  </a:lnTo>
                  <a:lnTo>
                    <a:pt x="4823" y="344"/>
                  </a:lnTo>
                  <a:lnTo>
                    <a:pt x="4769" y="368"/>
                  </a:lnTo>
                  <a:lnTo>
                    <a:pt x="4711" y="394"/>
                  </a:lnTo>
                  <a:lnTo>
                    <a:pt x="4650" y="422"/>
                  </a:lnTo>
                  <a:lnTo>
                    <a:pt x="4586" y="452"/>
                  </a:lnTo>
                  <a:lnTo>
                    <a:pt x="4519" y="482"/>
                  </a:lnTo>
                  <a:lnTo>
                    <a:pt x="4450" y="514"/>
                  </a:lnTo>
                  <a:lnTo>
                    <a:pt x="4381" y="547"/>
                  </a:lnTo>
                  <a:lnTo>
                    <a:pt x="4310" y="581"/>
                  </a:lnTo>
                  <a:lnTo>
                    <a:pt x="4239" y="613"/>
                  </a:lnTo>
                  <a:lnTo>
                    <a:pt x="4168" y="646"/>
                  </a:lnTo>
                  <a:lnTo>
                    <a:pt x="4099" y="680"/>
                  </a:lnTo>
                  <a:lnTo>
                    <a:pt x="4032" y="712"/>
                  </a:lnTo>
                  <a:lnTo>
                    <a:pt x="3969" y="742"/>
                  </a:lnTo>
                  <a:lnTo>
                    <a:pt x="3907" y="771"/>
                  </a:lnTo>
                  <a:lnTo>
                    <a:pt x="3849" y="799"/>
                  </a:lnTo>
                  <a:lnTo>
                    <a:pt x="3795" y="824"/>
                  </a:lnTo>
                  <a:lnTo>
                    <a:pt x="3749" y="848"/>
                  </a:lnTo>
                  <a:lnTo>
                    <a:pt x="3706" y="869"/>
                  </a:lnTo>
                  <a:lnTo>
                    <a:pt x="3668" y="885"/>
                  </a:lnTo>
                  <a:lnTo>
                    <a:pt x="3638" y="900"/>
                  </a:lnTo>
                  <a:lnTo>
                    <a:pt x="3616" y="910"/>
                  </a:lnTo>
                  <a:lnTo>
                    <a:pt x="3601" y="917"/>
                  </a:lnTo>
                  <a:lnTo>
                    <a:pt x="3596" y="921"/>
                  </a:lnTo>
                  <a:lnTo>
                    <a:pt x="3562" y="932"/>
                  </a:lnTo>
                  <a:lnTo>
                    <a:pt x="3528" y="936"/>
                  </a:lnTo>
                  <a:lnTo>
                    <a:pt x="3495" y="932"/>
                  </a:lnTo>
                  <a:lnTo>
                    <a:pt x="3463" y="921"/>
                  </a:lnTo>
                  <a:lnTo>
                    <a:pt x="3435" y="902"/>
                  </a:lnTo>
                  <a:lnTo>
                    <a:pt x="3411" y="878"/>
                  </a:lnTo>
                  <a:lnTo>
                    <a:pt x="3390" y="848"/>
                  </a:lnTo>
                  <a:lnTo>
                    <a:pt x="3379" y="814"/>
                  </a:lnTo>
                  <a:lnTo>
                    <a:pt x="3375" y="781"/>
                  </a:lnTo>
                  <a:lnTo>
                    <a:pt x="3379" y="747"/>
                  </a:lnTo>
                  <a:lnTo>
                    <a:pt x="3390" y="715"/>
                  </a:lnTo>
                  <a:lnTo>
                    <a:pt x="3409" y="687"/>
                  </a:lnTo>
                  <a:lnTo>
                    <a:pt x="3433" y="663"/>
                  </a:lnTo>
                  <a:lnTo>
                    <a:pt x="3463" y="643"/>
                  </a:lnTo>
                  <a:lnTo>
                    <a:pt x="3469" y="641"/>
                  </a:lnTo>
                  <a:lnTo>
                    <a:pt x="3484" y="633"/>
                  </a:lnTo>
                  <a:lnTo>
                    <a:pt x="3506" y="624"/>
                  </a:lnTo>
                  <a:lnTo>
                    <a:pt x="3536" y="609"/>
                  </a:lnTo>
                  <a:lnTo>
                    <a:pt x="3573" y="590"/>
                  </a:lnTo>
                  <a:lnTo>
                    <a:pt x="3616" y="570"/>
                  </a:lnTo>
                  <a:lnTo>
                    <a:pt x="3665" y="547"/>
                  </a:lnTo>
                  <a:lnTo>
                    <a:pt x="3719" y="521"/>
                  </a:lnTo>
                  <a:lnTo>
                    <a:pt x="3777" y="493"/>
                  </a:lnTo>
                  <a:lnTo>
                    <a:pt x="3838" y="465"/>
                  </a:lnTo>
                  <a:lnTo>
                    <a:pt x="3903" y="434"/>
                  </a:lnTo>
                  <a:lnTo>
                    <a:pt x="3971" y="402"/>
                  </a:lnTo>
                  <a:lnTo>
                    <a:pt x="4040" y="368"/>
                  </a:lnTo>
                  <a:lnTo>
                    <a:pt x="4111" y="336"/>
                  </a:lnTo>
                  <a:lnTo>
                    <a:pt x="4181" y="303"/>
                  </a:lnTo>
                  <a:lnTo>
                    <a:pt x="4252" y="269"/>
                  </a:lnTo>
                  <a:lnTo>
                    <a:pt x="4323" y="236"/>
                  </a:lnTo>
                  <a:lnTo>
                    <a:pt x="4392" y="204"/>
                  </a:lnTo>
                  <a:lnTo>
                    <a:pt x="4459" y="172"/>
                  </a:lnTo>
                  <a:lnTo>
                    <a:pt x="4525" y="142"/>
                  </a:lnTo>
                  <a:lnTo>
                    <a:pt x="4586" y="114"/>
                  </a:lnTo>
                  <a:lnTo>
                    <a:pt x="4644" y="88"/>
                  </a:lnTo>
                  <a:lnTo>
                    <a:pt x="4698" y="64"/>
                  </a:lnTo>
                  <a:lnTo>
                    <a:pt x="4775" y="34"/>
                  </a:lnTo>
                  <a:lnTo>
                    <a:pt x="4848" y="13"/>
                  </a:lnTo>
                  <a:lnTo>
                    <a:pt x="4919" y="2"/>
                  </a:lnTo>
                  <a:lnTo>
                    <a:pt x="49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5" name="Freeform 158">
              <a:extLst>
                <a:ext uri="{FF2B5EF4-FFF2-40B4-BE49-F238E27FC236}">
                  <a16:creationId xmlns:a16="http://schemas.microsoft.com/office/drawing/2014/main" id="{206FA527-B08E-42E4-8E5F-032DF7B3A2A2}"/>
                </a:ext>
              </a:extLst>
            </p:cNvPr>
            <p:cNvSpPr>
              <a:spLocks noEditPoints="1"/>
            </p:cNvSpPr>
            <p:nvPr/>
          </p:nvSpPr>
          <p:spPr bwMode="auto">
            <a:xfrm>
              <a:off x="8285163" y="3017838"/>
              <a:ext cx="1422400" cy="1422400"/>
            </a:xfrm>
            <a:custGeom>
              <a:avLst/>
              <a:gdLst>
                <a:gd name="T0" fmla="*/ 817 w 1791"/>
                <a:gd name="T1" fmla="*/ 314 h 1793"/>
                <a:gd name="T2" fmla="*/ 670 w 1791"/>
                <a:gd name="T3" fmla="*/ 353 h 1793"/>
                <a:gd name="T4" fmla="*/ 539 w 1791"/>
                <a:gd name="T5" fmla="*/ 430 h 1793"/>
                <a:gd name="T6" fmla="*/ 431 w 1791"/>
                <a:gd name="T7" fmla="*/ 536 h 1793"/>
                <a:gd name="T8" fmla="*/ 358 w 1791"/>
                <a:gd name="T9" fmla="*/ 659 h 1793"/>
                <a:gd name="T10" fmla="*/ 317 w 1791"/>
                <a:gd name="T11" fmla="*/ 794 h 1793"/>
                <a:gd name="T12" fmla="*/ 310 w 1791"/>
                <a:gd name="T13" fmla="*/ 932 h 1793"/>
                <a:gd name="T14" fmla="*/ 334 w 1791"/>
                <a:gd name="T15" fmla="*/ 1068 h 1793"/>
                <a:gd name="T16" fmla="*/ 390 w 1791"/>
                <a:gd name="T17" fmla="*/ 1199 h 1793"/>
                <a:gd name="T18" fmla="*/ 479 w 1791"/>
                <a:gd name="T19" fmla="*/ 1313 h 1793"/>
                <a:gd name="T20" fmla="*/ 603 w 1791"/>
                <a:gd name="T21" fmla="*/ 1408 h 1793"/>
                <a:gd name="T22" fmla="*/ 743 w 1791"/>
                <a:gd name="T23" fmla="*/ 1466 h 1793"/>
                <a:gd name="T24" fmla="*/ 896 w 1791"/>
                <a:gd name="T25" fmla="*/ 1487 h 1793"/>
                <a:gd name="T26" fmla="*/ 1049 w 1791"/>
                <a:gd name="T27" fmla="*/ 1466 h 1793"/>
                <a:gd name="T28" fmla="*/ 1188 w 1791"/>
                <a:gd name="T29" fmla="*/ 1408 h 1793"/>
                <a:gd name="T30" fmla="*/ 1312 w 1791"/>
                <a:gd name="T31" fmla="*/ 1313 h 1793"/>
                <a:gd name="T32" fmla="*/ 1401 w 1791"/>
                <a:gd name="T33" fmla="*/ 1199 h 1793"/>
                <a:gd name="T34" fmla="*/ 1457 w 1791"/>
                <a:gd name="T35" fmla="*/ 1068 h 1793"/>
                <a:gd name="T36" fmla="*/ 1483 w 1791"/>
                <a:gd name="T37" fmla="*/ 932 h 1793"/>
                <a:gd name="T38" fmla="*/ 1474 w 1791"/>
                <a:gd name="T39" fmla="*/ 794 h 1793"/>
                <a:gd name="T40" fmla="*/ 1433 w 1791"/>
                <a:gd name="T41" fmla="*/ 659 h 1793"/>
                <a:gd name="T42" fmla="*/ 1360 w 1791"/>
                <a:gd name="T43" fmla="*/ 536 h 1793"/>
                <a:gd name="T44" fmla="*/ 1254 w 1791"/>
                <a:gd name="T45" fmla="*/ 430 h 1793"/>
                <a:gd name="T46" fmla="*/ 1121 w 1791"/>
                <a:gd name="T47" fmla="*/ 353 h 1793"/>
                <a:gd name="T48" fmla="*/ 974 w 1791"/>
                <a:gd name="T49" fmla="*/ 314 h 1793"/>
                <a:gd name="T50" fmla="*/ 896 w 1791"/>
                <a:gd name="T51" fmla="*/ 0 h 1793"/>
                <a:gd name="T52" fmla="*/ 1073 w 1791"/>
                <a:gd name="T53" fmla="*/ 19 h 1793"/>
                <a:gd name="T54" fmla="*/ 1239 w 1791"/>
                <a:gd name="T55" fmla="*/ 70 h 1793"/>
                <a:gd name="T56" fmla="*/ 1392 w 1791"/>
                <a:gd name="T57" fmla="*/ 152 h 1793"/>
                <a:gd name="T58" fmla="*/ 1530 w 1791"/>
                <a:gd name="T59" fmla="*/ 264 h 1793"/>
                <a:gd name="T60" fmla="*/ 1644 w 1791"/>
                <a:gd name="T61" fmla="*/ 404 h 1793"/>
                <a:gd name="T62" fmla="*/ 1726 w 1791"/>
                <a:gd name="T63" fmla="*/ 561 h 1793"/>
                <a:gd name="T64" fmla="*/ 1774 w 1791"/>
                <a:gd name="T65" fmla="*/ 725 h 1793"/>
                <a:gd name="T66" fmla="*/ 1791 w 1791"/>
                <a:gd name="T67" fmla="*/ 897 h 1793"/>
                <a:gd name="T68" fmla="*/ 1774 w 1791"/>
                <a:gd name="T69" fmla="*/ 1068 h 1793"/>
                <a:gd name="T70" fmla="*/ 1726 w 1791"/>
                <a:gd name="T71" fmla="*/ 1233 h 1793"/>
                <a:gd name="T72" fmla="*/ 1644 w 1791"/>
                <a:gd name="T73" fmla="*/ 1389 h 1793"/>
                <a:gd name="T74" fmla="*/ 1530 w 1791"/>
                <a:gd name="T75" fmla="*/ 1529 h 1793"/>
                <a:gd name="T76" fmla="*/ 1392 w 1791"/>
                <a:gd name="T77" fmla="*/ 1642 h 1793"/>
                <a:gd name="T78" fmla="*/ 1239 w 1791"/>
                <a:gd name="T79" fmla="*/ 1724 h 1793"/>
                <a:gd name="T80" fmla="*/ 1071 w 1791"/>
                <a:gd name="T81" fmla="*/ 1774 h 1793"/>
                <a:gd name="T82" fmla="*/ 896 w 1791"/>
                <a:gd name="T83" fmla="*/ 1793 h 1793"/>
                <a:gd name="T84" fmla="*/ 720 w 1791"/>
                <a:gd name="T85" fmla="*/ 1774 h 1793"/>
                <a:gd name="T86" fmla="*/ 554 w 1791"/>
                <a:gd name="T87" fmla="*/ 1724 h 1793"/>
                <a:gd name="T88" fmla="*/ 399 w 1791"/>
                <a:gd name="T89" fmla="*/ 1642 h 1793"/>
                <a:gd name="T90" fmla="*/ 263 w 1791"/>
                <a:gd name="T91" fmla="*/ 1529 h 1793"/>
                <a:gd name="T92" fmla="*/ 147 w 1791"/>
                <a:gd name="T93" fmla="*/ 1389 h 1793"/>
                <a:gd name="T94" fmla="*/ 65 w 1791"/>
                <a:gd name="T95" fmla="*/ 1233 h 1793"/>
                <a:gd name="T96" fmla="*/ 17 w 1791"/>
                <a:gd name="T97" fmla="*/ 1068 h 1793"/>
                <a:gd name="T98" fmla="*/ 0 w 1791"/>
                <a:gd name="T99" fmla="*/ 897 h 1793"/>
                <a:gd name="T100" fmla="*/ 17 w 1791"/>
                <a:gd name="T101" fmla="*/ 725 h 1793"/>
                <a:gd name="T102" fmla="*/ 65 w 1791"/>
                <a:gd name="T103" fmla="*/ 561 h 1793"/>
                <a:gd name="T104" fmla="*/ 147 w 1791"/>
                <a:gd name="T105" fmla="*/ 404 h 1793"/>
                <a:gd name="T106" fmla="*/ 263 w 1791"/>
                <a:gd name="T107" fmla="*/ 264 h 1793"/>
                <a:gd name="T108" fmla="*/ 399 w 1791"/>
                <a:gd name="T109" fmla="*/ 152 h 1793"/>
                <a:gd name="T110" fmla="*/ 554 w 1791"/>
                <a:gd name="T111" fmla="*/ 70 h 1793"/>
                <a:gd name="T112" fmla="*/ 720 w 1791"/>
                <a:gd name="T113" fmla="*/ 19 h 1793"/>
                <a:gd name="T114" fmla="*/ 896 w 1791"/>
                <a:gd name="T115" fmla="*/ 0 h 1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1" h="1793">
                  <a:moveTo>
                    <a:pt x="896" y="309"/>
                  </a:moveTo>
                  <a:lnTo>
                    <a:pt x="817" y="314"/>
                  </a:lnTo>
                  <a:lnTo>
                    <a:pt x="743" y="329"/>
                  </a:lnTo>
                  <a:lnTo>
                    <a:pt x="670" y="353"/>
                  </a:lnTo>
                  <a:lnTo>
                    <a:pt x="603" y="387"/>
                  </a:lnTo>
                  <a:lnTo>
                    <a:pt x="539" y="430"/>
                  </a:lnTo>
                  <a:lnTo>
                    <a:pt x="479" y="482"/>
                  </a:lnTo>
                  <a:lnTo>
                    <a:pt x="431" y="536"/>
                  </a:lnTo>
                  <a:lnTo>
                    <a:pt x="390" y="596"/>
                  </a:lnTo>
                  <a:lnTo>
                    <a:pt x="358" y="659"/>
                  </a:lnTo>
                  <a:lnTo>
                    <a:pt x="334" y="725"/>
                  </a:lnTo>
                  <a:lnTo>
                    <a:pt x="317" y="794"/>
                  </a:lnTo>
                  <a:lnTo>
                    <a:pt x="310" y="863"/>
                  </a:lnTo>
                  <a:lnTo>
                    <a:pt x="310" y="932"/>
                  </a:lnTo>
                  <a:lnTo>
                    <a:pt x="317" y="1001"/>
                  </a:lnTo>
                  <a:lnTo>
                    <a:pt x="334" y="1068"/>
                  </a:lnTo>
                  <a:lnTo>
                    <a:pt x="358" y="1136"/>
                  </a:lnTo>
                  <a:lnTo>
                    <a:pt x="390" y="1199"/>
                  </a:lnTo>
                  <a:lnTo>
                    <a:pt x="431" y="1259"/>
                  </a:lnTo>
                  <a:lnTo>
                    <a:pt x="479" y="1313"/>
                  </a:lnTo>
                  <a:lnTo>
                    <a:pt x="539" y="1365"/>
                  </a:lnTo>
                  <a:lnTo>
                    <a:pt x="603" y="1408"/>
                  </a:lnTo>
                  <a:lnTo>
                    <a:pt x="670" y="1442"/>
                  </a:lnTo>
                  <a:lnTo>
                    <a:pt x="743" y="1466"/>
                  </a:lnTo>
                  <a:lnTo>
                    <a:pt x="817" y="1481"/>
                  </a:lnTo>
                  <a:lnTo>
                    <a:pt x="896" y="1487"/>
                  </a:lnTo>
                  <a:lnTo>
                    <a:pt x="974" y="1481"/>
                  </a:lnTo>
                  <a:lnTo>
                    <a:pt x="1049" y="1466"/>
                  </a:lnTo>
                  <a:lnTo>
                    <a:pt x="1121" y="1442"/>
                  </a:lnTo>
                  <a:lnTo>
                    <a:pt x="1188" y="1408"/>
                  </a:lnTo>
                  <a:lnTo>
                    <a:pt x="1254" y="1365"/>
                  </a:lnTo>
                  <a:lnTo>
                    <a:pt x="1312" y="1313"/>
                  </a:lnTo>
                  <a:lnTo>
                    <a:pt x="1360" y="1259"/>
                  </a:lnTo>
                  <a:lnTo>
                    <a:pt x="1401" y="1199"/>
                  </a:lnTo>
                  <a:lnTo>
                    <a:pt x="1433" y="1136"/>
                  </a:lnTo>
                  <a:lnTo>
                    <a:pt x="1457" y="1068"/>
                  </a:lnTo>
                  <a:lnTo>
                    <a:pt x="1474" y="1001"/>
                  </a:lnTo>
                  <a:lnTo>
                    <a:pt x="1483" y="932"/>
                  </a:lnTo>
                  <a:lnTo>
                    <a:pt x="1483" y="863"/>
                  </a:lnTo>
                  <a:lnTo>
                    <a:pt x="1474" y="794"/>
                  </a:lnTo>
                  <a:lnTo>
                    <a:pt x="1457" y="725"/>
                  </a:lnTo>
                  <a:lnTo>
                    <a:pt x="1433" y="659"/>
                  </a:lnTo>
                  <a:lnTo>
                    <a:pt x="1401" y="596"/>
                  </a:lnTo>
                  <a:lnTo>
                    <a:pt x="1360" y="536"/>
                  </a:lnTo>
                  <a:lnTo>
                    <a:pt x="1312" y="482"/>
                  </a:lnTo>
                  <a:lnTo>
                    <a:pt x="1254" y="430"/>
                  </a:lnTo>
                  <a:lnTo>
                    <a:pt x="1188" y="387"/>
                  </a:lnTo>
                  <a:lnTo>
                    <a:pt x="1121" y="353"/>
                  </a:lnTo>
                  <a:lnTo>
                    <a:pt x="1049" y="329"/>
                  </a:lnTo>
                  <a:lnTo>
                    <a:pt x="974" y="314"/>
                  </a:lnTo>
                  <a:lnTo>
                    <a:pt x="896" y="309"/>
                  </a:lnTo>
                  <a:close/>
                  <a:moveTo>
                    <a:pt x="896" y="0"/>
                  </a:moveTo>
                  <a:lnTo>
                    <a:pt x="985" y="6"/>
                  </a:lnTo>
                  <a:lnTo>
                    <a:pt x="1073" y="19"/>
                  </a:lnTo>
                  <a:lnTo>
                    <a:pt x="1157" y="40"/>
                  </a:lnTo>
                  <a:lnTo>
                    <a:pt x="1239" y="70"/>
                  </a:lnTo>
                  <a:lnTo>
                    <a:pt x="1317" y="107"/>
                  </a:lnTo>
                  <a:lnTo>
                    <a:pt x="1392" y="152"/>
                  </a:lnTo>
                  <a:lnTo>
                    <a:pt x="1463" y="204"/>
                  </a:lnTo>
                  <a:lnTo>
                    <a:pt x="1530" y="264"/>
                  </a:lnTo>
                  <a:lnTo>
                    <a:pt x="1590" y="331"/>
                  </a:lnTo>
                  <a:lnTo>
                    <a:pt x="1644" y="404"/>
                  </a:lnTo>
                  <a:lnTo>
                    <a:pt x="1689" y="480"/>
                  </a:lnTo>
                  <a:lnTo>
                    <a:pt x="1726" y="561"/>
                  </a:lnTo>
                  <a:lnTo>
                    <a:pt x="1754" y="641"/>
                  </a:lnTo>
                  <a:lnTo>
                    <a:pt x="1774" y="725"/>
                  </a:lnTo>
                  <a:lnTo>
                    <a:pt x="1787" y="811"/>
                  </a:lnTo>
                  <a:lnTo>
                    <a:pt x="1791" y="897"/>
                  </a:lnTo>
                  <a:lnTo>
                    <a:pt x="1787" y="982"/>
                  </a:lnTo>
                  <a:lnTo>
                    <a:pt x="1774" y="1068"/>
                  </a:lnTo>
                  <a:lnTo>
                    <a:pt x="1754" y="1152"/>
                  </a:lnTo>
                  <a:lnTo>
                    <a:pt x="1726" y="1233"/>
                  </a:lnTo>
                  <a:lnTo>
                    <a:pt x="1689" y="1313"/>
                  </a:lnTo>
                  <a:lnTo>
                    <a:pt x="1644" y="1389"/>
                  </a:lnTo>
                  <a:lnTo>
                    <a:pt x="1590" y="1462"/>
                  </a:lnTo>
                  <a:lnTo>
                    <a:pt x="1530" y="1529"/>
                  </a:lnTo>
                  <a:lnTo>
                    <a:pt x="1463" y="1589"/>
                  </a:lnTo>
                  <a:lnTo>
                    <a:pt x="1392" y="1642"/>
                  </a:lnTo>
                  <a:lnTo>
                    <a:pt x="1317" y="1686"/>
                  </a:lnTo>
                  <a:lnTo>
                    <a:pt x="1239" y="1724"/>
                  </a:lnTo>
                  <a:lnTo>
                    <a:pt x="1157" y="1754"/>
                  </a:lnTo>
                  <a:lnTo>
                    <a:pt x="1071" y="1774"/>
                  </a:lnTo>
                  <a:lnTo>
                    <a:pt x="985" y="1787"/>
                  </a:lnTo>
                  <a:lnTo>
                    <a:pt x="896" y="1793"/>
                  </a:lnTo>
                  <a:lnTo>
                    <a:pt x="806" y="1787"/>
                  </a:lnTo>
                  <a:lnTo>
                    <a:pt x="720" y="1774"/>
                  </a:lnTo>
                  <a:lnTo>
                    <a:pt x="634" y="1754"/>
                  </a:lnTo>
                  <a:lnTo>
                    <a:pt x="554" y="1724"/>
                  </a:lnTo>
                  <a:lnTo>
                    <a:pt x="474" y="1686"/>
                  </a:lnTo>
                  <a:lnTo>
                    <a:pt x="399" y="1642"/>
                  </a:lnTo>
                  <a:lnTo>
                    <a:pt x="328" y="1589"/>
                  </a:lnTo>
                  <a:lnTo>
                    <a:pt x="263" y="1529"/>
                  </a:lnTo>
                  <a:lnTo>
                    <a:pt x="201" y="1462"/>
                  </a:lnTo>
                  <a:lnTo>
                    <a:pt x="147" y="1389"/>
                  </a:lnTo>
                  <a:lnTo>
                    <a:pt x="102" y="1313"/>
                  </a:lnTo>
                  <a:lnTo>
                    <a:pt x="65" y="1233"/>
                  </a:lnTo>
                  <a:lnTo>
                    <a:pt x="37" y="1152"/>
                  </a:lnTo>
                  <a:lnTo>
                    <a:pt x="17" y="1068"/>
                  </a:lnTo>
                  <a:lnTo>
                    <a:pt x="4" y="982"/>
                  </a:lnTo>
                  <a:lnTo>
                    <a:pt x="0" y="897"/>
                  </a:lnTo>
                  <a:lnTo>
                    <a:pt x="4" y="811"/>
                  </a:lnTo>
                  <a:lnTo>
                    <a:pt x="17" y="725"/>
                  </a:lnTo>
                  <a:lnTo>
                    <a:pt x="37" y="641"/>
                  </a:lnTo>
                  <a:lnTo>
                    <a:pt x="65" y="561"/>
                  </a:lnTo>
                  <a:lnTo>
                    <a:pt x="102" y="480"/>
                  </a:lnTo>
                  <a:lnTo>
                    <a:pt x="147" y="404"/>
                  </a:lnTo>
                  <a:lnTo>
                    <a:pt x="201" y="331"/>
                  </a:lnTo>
                  <a:lnTo>
                    <a:pt x="263" y="264"/>
                  </a:lnTo>
                  <a:lnTo>
                    <a:pt x="328" y="204"/>
                  </a:lnTo>
                  <a:lnTo>
                    <a:pt x="399" y="152"/>
                  </a:lnTo>
                  <a:lnTo>
                    <a:pt x="474" y="107"/>
                  </a:lnTo>
                  <a:lnTo>
                    <a:pt x="554" y="70"/>
                  </a:lnTo>
                  <a:lnTo>
                    <a:pt x="634" y="40"/>
                  </a:lnTo>
                  <a:lnTo>
                    <a:pt x="720" y="19"/>
                  </a:lnTo>
                  <a:lnTo>
                    <a:pt x="806" y="6"/>
                  </a:lnTo>
                  <a:lnTo>
                    <a:pt x="8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6" name="Freeform 159">
              <a:extLst>
                <a:ext uri="{FF2B5EF4-FFF2-40B4-BE49-F238E27FC236}">
                  <a16:creationId xmlns:a16="http://schemas.microsoft.com/office/drawing/2014/main" id="{1553E849-CAB5-4151-B9AA-22D98BF93A1B}"/>
                </a:ext>
              </a:extLst>
            </p:cNvPr>
            <p:cNvSpPr>
              <a:spLocks noEditPoints="1"/>
            </p:cNvSpPr>
            <p:nvPr/>
          </p:nvSpPr>
          <p:spPr bwMode="auto">
            <a:xfrm>
              <a:off x="9275763" y="1941513"/>
              <a:ext cx="1108075" cy="1109663"/>
            </a:xfrm>
            <a:custGeom>
              <a:avLst/>
              <a:gdLst>
                <a:gd name="T0" fmla="*/ 638 w 1396"/>
                <a:gd name="T1" fmla="*/ 314 h 1399"/>
                <a:gd name="T2" fmla="*/ 521 w 1396"/>
                <a:gd name="T3" fmla="*/ 351 h 1399"/>
                <a:gd name="T4" fmla="*/ 422 w 1396"/>
                <a:gd name="T5" fmla="*/ 424 h 1399"/>
                <a:gd name="T6" fmla="*/ 349 w 1396"/>
                <a:gd name="T7" fmla="*/ 525 h 1399"/>
                <a:gd name="T8" fmla="*/ 312 w 1396"/>
                <a:gd name="T9" fmla="*/ 641 h 1399"/>
                <a:gd name="T10" fmla="*/ 312 w 1396"/>
                <a:gd name="T11" fmla="*/ 760 h 1399"/>
                <a:gd name="T12" fmla="*/ 349 w 1396"/>
                <a:gd name="T13" fmla="*/ 876 h 1399"/>
                <a:gd name="T14" fmla="*/ 422 w 1396"/>
                <a:gd name="T15" fmla="*/ 978 h 1399"/>
                <a:gd name="T16" fmla="*/ 521 w 1396"/>
                <a:gd name="T17" fmla="*/ 1051 h 1399"/>
                <a:gd name="T18" fmla="*/ 638 w 1396"/>
                <a:gd name="T19" fmla="*/ 1089 h 1399"/>
                <a:gd name="T20" fmla="*/ 762 w 1396"/>
                <a:gd name="T21" fmla="*/ 1089 h 1399"/>
                <a:gd name="T22" fmla="*/ 877 w 1396"/>
                <a:gd name="T23" fmla="*/ 1051 h 1399"/>
                <a:gd name="T24" fmla="*/ 978 w 1396"/>
                <a:gd name="T25" fmla="*/ 978 h 1399"/>
                <a:gd name="T26" fmla="*/ 1045 w 1396"/>
                <a:gd name="T27" fmla="*/ 887 h 1399"/>
                <a:gd name="T28" fmla="*/ 1082 w 1396"/>
                <a:gd name="T29" fmla="*/ 782 h 1399"/>
                <a:gd name="T30" fmla="*/ 1090 w 1396"/>
                <a:gd name="T31" fmla="*/ 674 h 1399"/>
                <a:gd name="T32" fmla="*/ 1068 w 1396"/>
                <a:gd name="T33" fmla="*/ 566 h 1399"/>
                <a:gd name="T34" fmla="*/ 1015 w 1396"/>
                <a:gd name="T35" fmla="*/ 467 h 1399"/>
                <a:gd name="T36" fmla="*/ 929 w 1396"/>
                <a:gd name="T37" fmla="*/ 383 h 1399"/>
                <a:gd name="T38" fmla="*/ 821 w 1396"/>
                <a:gd name="T39" fmla="*/ 327 h 1399"/>
                <a:gd name="T40" fmla="*/ 700 w 1396"/>
                <a:gd name="T41" fmla="*/ 308 h 1399"/>
                <a:gd name="T42" fmla="*/ 778 w 1396"/>
                <a:gd name="T43" fmla="*/ 6 h 1399"/>
                <a:gd name="T44" fmla="*/ 929 w 1396"/>
                <a:gd name="T45" fmla="*/ 39 h 1399"/>
                <a:gd name="T46" fmla="*/ 1069 w 1396"/>
                <a:gd name="T47" fmla="*/ 108 h 1399"/>
                <a:gd name="T48" fmla="*/ 1193 w 1396"/>
                <a:gd name="T49" fmla="*/ 206 h 1399"/>
                <a:gd name="T50" fmla="*/ 1291 w 1396"/>
                <a:gd name="T51" fmla="*/ 333 h 1399"/>
                <a:gd name="T52" fmla="*/ 1359 w 1396"/>
                <a:gd name="T53" fmla="*/ 473 h 1399"/>
                <a:gd name="T54" fmla="*/ 1392 w 1396"/>
                <a:gd name="T55" fmla="*/ 624 h 1399"/>
                <a:gd name="T56" fmla="*/ 1392 w 1396"/>
                <a:gd name="T57" fmla="*/ 777 h 1399"/>
                <a:gd name="T58" fmla="*/ 1359 w 1396"/>
                <a:gd name="T59" fmla="*/ 926 h 1399"/>
                <a:gd name="T60" fmla="*/ 1291 w 1396"/>
                <a:gd name="T61" fmla="*/ 1068 h 1399"/>
                <a:gd name="T62" fmla="*/ 1193 w 1396"/>
                <a:gd name="T63" fmla="*/ 1195 h 1399"/>
                <a:gd name="T64" fmla="*/ 1069 w 1396"/>
                <a:gd name="T65" fmla="*/ 1292 h 1399"/>
                <a:gd name="T66" fmla="*/ 929 w 1396"/>
                <a:gd name="T67" fmla="*/ 1359 h 1399"/>
                <a:gd name="T68" fmla="*/ 778 w 1396"/>
                <a:gd name="T69" fmla="*/ 1395 h 1399"/>
                <a:gd name="T70" fmla="*/ 620 w 1396"/>
                <a:gd name="T71" fmla="*/ 1395 h 1399"/>
                <a:gd name="T72" fmla="*/ 467 w 1396"/>
                <a:gd name="T73" fmla="*/ 1361 h 1399"/>
                <a:gd name="T74" fmla="*/ 327 w 1396"/>
                <a:gd name="T75" fmla="*/ 1294 h 1399"/>
                <a:gd name="T76" fmla="*/ 204 w 1396"/>
                <a:gd name="T77" fmla="*/ 1195 h 1399"/>
                <a:gd name="T78" fmla="*/ 105 w 1396"/>
                <a:gd name="T79" fmla="*/ 1068 h 1399"/>
                <a:gd name="T80" fmla="*/ 38 w 1396"/>
                <a:gd name="T81" fmla="*/ 926 h 1399"/>
                <a:gd name="T82" fmla="*/ 4 w 1396"/>
                <a:gd name="T83" fmla="*/ 777 h 1399"/>
                <a:gd name="T84" fmla="*/ 4 w 1396"/>
                <a:gd name="T85" fmla="*/ 624 h 1399"/>
                <a:gd name="T86" fmla="*/ 38 w 1396"/>
                <a:gd name="T87" fmla="*/ 473 h 1399"/>
                <a:gd name="T88" fmla="*/ 105 w 1396"/>
                <a:gd name="T89" fmla="*/ 333 h 1399"/>
                <a:gd name="T90" fmla="*/ 204 w 1396"/>
                <a:gd name="T91" fmla="*/ 206 h 1399"/>
                <a:gd name="T92" fmla="*/ 327 w 1396"/>
                <a:gd name="T93" fmla="*/ 108 h 1399"/>
                <a:gd name="T94" fmla="*/ 467 w 1396"/>
                <a:gd name="T95" fmla="*/ 39 h 1399"/>
                <a:gd name="T96" fmla="*/ 620 w 1396"/>
                <a:gd name="T97" fmla="*/ 6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96" h="1399">
                  <a:moveTo>
                    <a:pt x="700" y="308"/>
                  </a:moveTo>
                  <a:lnTo>
                    <a:pt x="638" y="314"/>
                  </a:lnTo>
                  <a:lnTo>
                    <a:pt x="579" y="327"/>
                  </a:lnTo>
                  <a:lnTo>
                    <a:pt x="521" y="351"/>
                  </a:lnTo>
                  <a:lnTo>
                    <a:pt x="469" y="383"/>
                  </a:lnTo>
                  <a:lnTo>
                    <a:pt x="422" y="424"/>
                  </a:lnTo>
                  <a:lnTo>
                    <a:pt x="381" y="473"/>
                  </a:lnTo>
                  <a:lnTo>
                    <a:pt x="349" y="525"/>
                  </a:lnTo>
                  <a:lnTo>
                    <a:pt x="327" y="581"/>
                  </a:lnTo>
                  <a:lnTo>
                    <a:pt x="312" y="641"/>
                  </a:lnTo>
                  <a:lnTo>
                    <a:pt x="308" y="700"/>
                  </a:lnTo>
                  <a:lnTo>
                    <a:pt x="312" y="760"/>
                  </a:lnTo>
                  <a:lnTo>
                    <a:pt x="327" y="820"/>
                  </a:lnTo>
                  <a:lnTo>
                    <a:pt x="349" y="876"/>
                  </a:lnTo>
                  <a:lnTo>
                    <a:pt x="381" y="930"/>
                  </a:lnTo>
                  <a:lnTo>
                    <a:pt x="422" y="978"/>
                  </a:lnTo>
                  <a:lnTo>
                    <a:pt x="469" y="1018"/>
                  </a:lnTo>
                  <a:lnTo>
                    <a:pt x="521" y="1051"/>
                  </a:lnTo>
                  <a:lnTo>
                    <a:pt x="579" y="1074"/>
                  </a:lnTo>
                  <a:lnTo>
                    <a:pt x="638" y="1089"/>
                  </a:lnTo>
                  <a:lnTo>
                    <a:pt x="700" y="1092"/>
                  </a:lnTo>
                  <a:lnTo>
                    <a:pt x="762" y="1089"/>
                  </a:lnTo>
                  <a:lnTo>
                    <a:pt x="821" y="1074"/>
                  </a:lnTo>
                  <a:lnTo>
                    <a:pt x="877" y="1051"/>
                  </a:lnTo>
                  <a:lnTo>
                    <a:pt x="929" y="1018"/>
                  </a:lnTo>
                  <a:lnTo>
                    <a:pt x="978" y="978"/>
                  </a:lnTo>
                  <a:lnTo>
                    <a:pt x="1015" y="934"/>
                  </a:lnTo>
                  <a:lnTo>
                    <a:pt x="1045" y="887"/>
                  </a:lnTo>
                  <a:lnTo>
                    <a:pt x="1068" y="835"/>
                  </a:lnTo>
                  <a:lnTo>
                    <a:pt x="1082" y="782"/>
                  </a:lnTo>
                  <a:lnTo>
                    <a:pt x="1090" y="728"/>
                  </a:lnTo>
                  <a:lnTo>
                    <a:pt x="1090" y="674"/>
                  </a:lnTo>
                  <a:lnTo>
                    <a:pt x="1082" y="618"/>
                  </a:lnTo>
                  <a:lnTo>
                    <a:pt x="1068" y="566"/>
                  </a:lnTo>
                  <a:lnTo>
                    <a:pt x="1045" y="515"/>
                  </a:lnTo>
                  <a:lnTo>
                    <a:pt x="1015" y="467"/>
                  </a:lnTo>
                  <a:lnTo>
                    <a:pt x="978" y="424"/>
                  </a:lnTo>
                  <a:lnTo>
                    <a:pt x="929" y="383"/>
                  </a:lnTo>
                  <a:lnTo>
                    <a:pt x="877" y="351"/>
                  </a:lnTo>
                  <a:lnTo>
                    <a:pt x="821" y="327"/>
                  </a:lnTo>
                  <a:lnTo>
                    <a:pt x="762" y="314"/>
                  </a:lnTo>
                  <a:lnTo>
                    <a:pt x="700" y="308"/>
                  </a:lnTo>
                  <a:close/>
                  <a:moveTo>
                    <a:pt x="698" y="0"/>
                  </a:moveTo>
                  <a:lnTo>
                    <a:pt x="778" y="6"/>
                  </a:lnTo>
                  <a:lnTo>
                    <a:pt x="855" y="19"/>
                  </a:lnTo>
                  <a:lnTo>
                    <a:pt x="929" y="39"/>
                  </a:lnTo>
                  <a:lnTo>
                    <a:pt x="1000" y="69"/>
                  </a:lnTo>
                  <a:lnTo>
                    <a:pt x="1069" y="108"/>
                  </a:lnTo>
                  <a:lnTo>
                    <a:pt x="1133" y="153"/>
                  </a:lnTo>
                  <a:lnTo>
                    <a:pt x="1193" y="206"/>
                  </a:lnTo>
                  <a:lnTo>
                    <a:pt x="1247" y="267"/>
                  </a:lnTo>
                  <a:lnTo>
                    <a:pt x="1291" y="333"/>
                  </a:lnTo>
                  <a:lnTo>
                    <a:pt x="1331" y="402"/>
                  </a:lnTo>
                  <a:lnTo>
                    <a:pt x="1359" y="473"/>
                  </a:lnTo>
                  <a:lnTo>
                    <a:pt x="1379" y="547"/>
                  </a:lnTo>
                  <a:lnTo>
                    <a:pt x="1392" y="624"/>
                  </a:lnTo>
                  <a:lnTo>
                    <a:pt x="1396" y="700"/>
                  </a:lnTo>
                  <a:lnTo>
                    <a:pt x="1392" y="777"/>
                  </a:lnTo>
                  <a:lnTo>
                    <a:pt x="1379" y="853"/>
                  </a:lnTo>
                  <a:lnTo>
                    <a:pt x="1359" y="926"/>
                  </a:lnTo>
                  <a:lnTo>
                    <a:pt x="1331" y="999"/>
                  </a:lnTo>
                  <a:lnTo>
                    <a:pt x="1291" y="1068"/>
                  </a:lnTo>
                  <a:lnTo>
                    <a:pt x="1247" y="1133"/>
                  </a:lnTo>
                  <a:lnTo>
                    <a:pt x="1193" y="1195"/>
                  </a:lnTo>
                  <a:lnTo>
                    <a:pt x="1133" y="1247"/>
                  </a:lnTo>
                  <a:lnTo>
                    <a:pt x="1069" y="1292"/>
                  </a:lnTo>
                  <a:lnTo>
                    <a:pt x="1000" y="1329"/>
                  </a:lnTo>
                  <a:lnTo>
                    <a:pt x="929" y="1359"/>
                  </a:lnTo>
                  <a:lnTo>
                    <a:pt x="855" y="1382"/>
                  </a:lnTo>
                  <a:lnTo>
                    <a:pt x="778" y="1395"/>
                  </a:lnTo>
                  <a:lnTo>
                    <a:pt x="698" y="1399"/>
                  </a:lnTo>
                  <a:lnTo>
                    <a:pt x="620" y="1395"/>
                  </a:lnTo>
                  <a:lnTo>
                    <a:pt x="543" y="1382"/>
                  </a:lnTo>
                  <a:lnTo>
                    <a:pt x="467" y="1361"/>
                  </a:lnTo>
                  <a:lnTo>
                    <a:pt x="396" y="1331"/>
                  </a:lnTo>
                  <a:lnTo>
                    <a:pt x="327" y="1294"/>
                  </a:lnTo>
                  <a:lnTo>
                    <a:pt x="263" y="1247"/>
                  </a:lnTo>
                  <a:lnTo>
                    <a:pt x="204" y="1195"/>
                  </a:lnTo>
                  <a:lnTo>
                    <a:pt x="149" y="1133"/>
                  </a:lnTo>
                  <a:lnTo>
                    <a:pt x="105" y="1068"/>
                  </a:lnTo>
                  <a:lnTo>
                    <a:pt x="67" y="999"/>
                  </a:lnTo>
                  <a:lnTo>
                    <a:pt x="38" y="926"/>
                  </a:lnTo>
                  <a:lnTo>
                    <a:pt x="17" y="853"/>
                  </a:lnTo>
                  <a:lnTo>
                    <a:pt x="4" y="777"/>
                  </a:lnTo>
                  <a:lnTo>
                    <a:pt x="0" y="700"/>
                  </a:lnTo>
                  <a:lnTo>
                    <a:pt x="4" y="624"/>
                  </a:lnTo>
                  <a:lnTo>
                    <a:pt x="17" y="547"/>
                  </a:lnTo>
                  <a:lnTo>
                    <a:pt x="38" y="473"/>
                  </a:lnTo>
                  <a:lnTo>
                    <a:pt x="67" y="402"/>
                  </a:lnTo>
                  <a:lnTo>
                    <a:pt x="105" y="333"/>
                  </a:lnTo>
                  <a:lnTo>
                    <a:pt x="149" y="267"/>
                  </a:lnTo>
                  <a:lnTo>
                    <a:pt x="204" y="206"/>
                  </a:lnTo>
                  <a:lnTo>
                    <a:pt x="263" y="153"/>
                  </a:lnTo>
                  <a:lnTo>
                    <a:pt x="327" y="108"/>
                  </a:lnTo>
                  <a:lnTo>
                    <a:pt x="396" y="69"/>
                  </a:lnTo>
                  <a:lnTo>
                    <a:pt x="467" y="39"/>
                  </a:lnTo>
                  <a:lnTo>
                    <a:pt x="541" y="19"/>
                  </a:lnTo>
                  <a:lnTo>
                    <a:pt x="620" y="6"/>
                  </a:lnTo>
                  <a:lnTo>
                    <a:pt x="6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7" name="Group 416">
            <a:extLst>
              <a:ext uri="{FF2B5EF4-FFF2-40B4-BE49-F238E27FC236}">
                <a16:creationId xmlns:a16="http://schemas.microsoft.com/office/drawing/2014/main" id="{5E173DAD-6BBB-429C-870A-5B87A62E7B2C}"/>
              </a:ext>
            </a:extLst>
          </p:cNvPr>
          <p:cNvGrpSpPr/>
          <p:nvPr/>
        </p:nvGrpSpPr>
        <p:grpSpPr>
          <a:xfrm>
            <a:off x="693299" y="1776785"/>
            <a:ext cx="287938" cy="353037"/>
            <a:chOff x="8105775" y="792163"/>
            <a:chExt cx="4016375" cy="4924425"/>
          </a:xfrm>
          <a:solidFill>
            <a:srgbClr val="1B9D91"/>
          </a:solidFill>
        </p:grpSpPr>
        <p:sp>
          <p:nvSpPr>
            <p:cNvPr id="28" name="Freeform 189">
              <a:extLst>
                <a:ext uri="{FF2B5EF4-FFF2-40B4-BE49-F238E27FC236}">
                  <a16:creationId xmlns:a16="http://schemas.microsoft.com/office/drawing/2014/main" id="{78DF6B8E-8A00-4B50-BF6D-8A394BE50969}"/>
                </a:ext>
              </a:extLst>
            </p:cNvPr>
            <p:cNvSpPr>
              <a:spLocks/>
            </p:cNvSpPr>
            <p:nvPr/>
          </p:nvSpPr>
          <p:spPr bwMode="auto">
            <a:xfrm>
              <a:off x="8105775" y="2678113"/>
              <a:ext cx="1222375" cy="244475"/>
            </a:xfrm>
            <a:custGeom>
              <a:avLst/>
              <a:gdLst>
                <a:gd name="T0" fmla="*/ 153 w 1541"/>
                <a:gd name="T1" fmla="*/ 0 h 307"/>
                <a:gd name="T2" fmla="*/ 1386 w 1541"/>
                <a:gd name="T3" fmla="*/ 0 h 307"/>
                <a:gd name="T4" fmla="*/ 1427 w 1541"/>
                <a:gd name="T5" fmla="*/ 5 h 307"/>
                <a:gd name="T6" fmla="*/ 1463 w 1541"/>
                <a:gd name="T7" fmla="*/ 20 h 307"/>
                <a:gd name="T8" fmla="*/ 1495 w 1541"/>
                <a:gd name="T9" fmla="*/ 45 h 307"/>
                <a:gd name="T10" fmla="*/ 1518 w 1541"/>
                <a:gd name="T11" fmla="*/ 75 h 307"/>
                <a:gd name="T12" fmla="*/ 1535 w 1541"/>
                <a:gd name="T13" fmla="*/ 113 h 307"/>
                <a:gd name="T14" fmla="*/ 1541 w 1541"/>
                <a:gd name="T15" fmla="*/ 152 h 307"/>
                <a:gd name="T16" fmla="*/ 1535 w 1541"/>
                <a:gd name="T17" fmla="*/ 194 h 307"/>
                <a:gd name="T18" fmla="*/ 1518 w 1541"/>
                <a:gd name="T19" fmla="*/ 230 h 307"/>
                <a:gd name="T20" fmla="*/ 1495 w 1541"/>
                <a:gd name="T21" fmla="*/ 262 h 307"/>
                <a:gd name="T22" fmla="*/ 1463 w 1541"/>
                <a:gd name="T23" fmla="*/ 286 h 307"/>
                <a:gd name="T24" fmla="*/ 1427 w 1541"/>
                <a:gd name="T25" fmla="*/ 302 h 307"/>
                <a:gd name="T26" fmla="*/ 1386 w 1541"/>
                <a:gd name="T27" fmla="*/ 307 h 307"/>
                <a:gd name="T28" fmla="*/ 153 w 1541"/>
                <a:gd name="T29" fmla="*/ 307 h 307"/>
                <a:gd name="T30" fmla="*/ 114 w 1541"/>
                <a:gd name="T31" fmla="*/ 302 h 307"/>
                <a:gd name="T32" fmla="*/ 76 w 1541"/>
                <a:gd name="T33" fmla="*/ 286 h 307"/>
                <a:gd name="T34" fmla="*/ 46 w 1541"/>
                <a:gd name="T35" fmla="*/ 262 h 307"/>
                <a:gd name="T36" fmla="*/ 21 w 1541"/>
                <a:gd name="T37" fmla="*/ 230 h 307"/>
                <a:gd name="T38" fmla="*/ 6 w 1541"/>
                <a:gd name="T39" fmla="*/ 194 h 307"/>
                <a:gd name="T40" fmla="*/ 0 w 1541"/>
                <a:gd name="T41" fmla="*/ 152 h 307"/>
                <a:gd name="T42" fmla="*/ 6 w 1541"/>
                <a:gd name="T43" fmla="*/ 113 h 307"/>
                <a:gd name="T44" fmla="*/ 21 w 1541"/>
                <a:gd name="T45" fmla="*/ 75 h 307"/>
                <a:gd name="T46" fmla="*/ 46 w 1541"/>
                <a:gd name="T47" fmla="*/ 45 h 307"/>
                <a:gd name="T48" fmla="*/ 76 w 1541"/>
                <a:gd name="T49" fmla="*/ 20 h 307"/>
                <a:gd name="T50" fmla="*/ 114 w 1541"/>
                <a:gd name="T51" fmla="*/ 5 h 307"/>
                <a:gd name="T52" fmla="*/ 153 w 1541"/>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1" h="307">
                  <a:moveTo>
                    <a:pt x="153" y="0"/>
                  </a:moveTo>
                  <a:lnTo>
                    <a:pt x="1386" y="0"/>
                  </a:lnTo>
                  <a:lnTo>
                    <a:pt x="1427" y="5"/>
                  </a:lnTo>
                  <a:lnTo>
                    <a:pt x="1463" y="20"/>
                  </a:lnTo>
                  <a:lnTo>
                    <a:pt x="1495" y="45"/>
                  </a:lnTo>
                  <a:lnTo>
                    <a:pt x="1518" y="75"/>
                  </a:lnTo>
                  <a:lnTo>
                    <a:pt x="1535" y="113"/>
                  </a:lnTo>
                  <a:lnTo>
                    <a:pt x="1541" y="152"/>
                  </a:lnTo>
                  <a:lnTo>
                    <a:pt x="1535" y="194"/>
                  </a:lnTo>
                  <a:lnTo>
                    <a:pt x="1518" y="230"/>
                  </a:lnTo>
                  <a:lnTo>
                    <a:pt x="1495" y="262"/>
                  </a:lnTo>
                  <a:lnTo>
                    <a:pt x="1463" y="286"/>
                  </a:lnTo>
                  <a:lnTo>
                    <a:pt x="1427" y="302"/>
                  </a:lnTo>
                  <a:lnTo>
                    <a:pt x="1386" y="307"/>
                  </a:lnTo>
                  <a:lnTo>
                    <a:pt x="153" y="307"/>
                  </a:lnTo>
                  <a:lnTo>
                    <a:pt x="114" y="302"/>
                  </a:lnTo>
                  <a:lnTo>
                    <a:pt x="76" y="286"/>
                  </a:lnTo>
                  <a:lnTo>
                    <a:pt x="46" y="262"/>
                  </a:lnTo>
                  <a:lnTo>
                    <a:pt x="21" y="230"/>
                  </a:lnTo>
                  <a:lnTo>
                    <a:pt x="6" y="194"/>
                  </a:lnTo>
                  <a:lnTo>
                    <a:pt x="0" y="152"/>
                  </a:lnTo>
                  <a:lnTo>
                    <a:pt x="6" y="113"/>
                  </a:lnTo>
                  <a:lnTo>
                    <a:pt x="21" y="75"/>
                  </a:lnTo>
                  <a:lnTo>
                    <a:pt x="46" y="45"/>
                  </a:lnTo>
                  <a:lnTo>
                    <a:pt x="76" y="20"/>
                  </a:lnTo>
                  <a:lnTo>
                    <a:pt x="114"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9" name="Freeform 190">
              <a:extLst>
                <a:ext uri="{FF2B5EF4-FFF2-40B4-BE49-F238E27FC236}">
                  <a16:creationId xmlns:a16="http://schemas.microsoft.com/office/drawing/2014/main" id="{0245EFA8-1EB3-4298-AB42-B9759740BEB7}"/>
                </a:ext>
              </a:extLst>
            </p:cNvPr>
            <p:cNvSpPr>
              <a:spLocks/>
            </p:cNvSpPr>
            <p:nvPr/>
          </p:nvSpPr>
          <p:spPr bwMode="auto">
            <a:xfrm>
              <a:off x="10899775" y="2678113"/>
              <a:ext cx="1222375" cy="244475"/>
            </a:xfrm>
            <a:custGeom>
              <a:avLst/>
              <a:gdLst>
                <a:gd name="T0" fmla="*/ 153 w 1540"/>
                <a:gd name="T1" fmla="*/ 0 h 307"/>
                <a:gd name="T2" fmla="*/ 1385 w 1540"/>
                <a:gd name="T3" fmla="*/ 0 h 307"/>
                <a:gd name="T4" fmla="*/ 1427 w 1540"/>
                <a:gd name="T5" fmla="*/ 5 h 307"/>
                <a:gd name="T6" fmla="*/ 1463 w 1540"/>
                <a:gd name="T7" fmla="*/ 20 h 307"/>
                <a:gd name="T8" fmla="*/ 1495 w 1540"/>
                <a:gd name="T9" fmla="*/ 45 h 307"/>
                <a:gd name="T10" fmla="*/ 1519 w 1540"/>
                <a:gd name="T11" fmla="*/ 75 h 307"/>
                <a:gd name="T12" fmla="*/ 1535 w 1540"/>
                <a:gd name="T13" fmla="*/ 113 h 307"/>
                <a:gd name="T14" fmla="*/ 1540 w 1540"/>
                <a:gd name="T15" fmla="*/ 152 h 307"/>
                <a:gd name="T16" fmla="*/ 1535 w 1540"/>
                <a:gd name="T17" fmla="*/ 194 h 307"/>
                <a:gd name="T18" fmla="*/ 1518 w 1540"/>
                <a:gd name="T19" fmla="*/ 230 h 307"/>
                <a:gd name="T20" fmla="*/ 1495 w 1540"/>
                <a:gd name="T21" fmla="*/ 262 h 307"/>
                <a:gd name="T22" fmla="*/ 1463 w 1540"/>
                <a:gd name="T23" fmla="*/ 286 h 307"/>
                <a:gd name="T24" fmla="*/ 1427 w 1540"/>
                <a:gd name="T25" fmla="*/ 302 h 307"/>
                <a:gd name="T26" fmla="*/ 1385 w 1540"/>
                <a:gd name="T27" fmla="*/ 307 h 307"/>
                <a:gd name="T28" fmla="*/ 153 w 1540"/>
                <a:gd name="T29" fmla="*/ 307 h 307"/>
                <a:gd name="T30" fmla="*/ 113 w 1540"/>
                <a:gd name="T31" fmla="*/ 302 h 307"/>
                <a:gd name="T32" fmla="*/ 75 w 1540"/>
                <a:gd name="T33" fmla="*/ 286 h 307"/>
                <a:gd name="T34" fmla="*/ 45 w 1540"/>
                <a:gd name="T35" fmla="*/ 262 h 307"/>
                <a:gd name="T36" fmla="*/ 21 w 1540"/>
                <a:gd name="T37" fmla="*/ 230 h 307"/>
                <a:gd name="T38" fmla="*/ 6 w 1540"/>
                <a:gd name="T39" fmla="*/ 194 h 307"/>
                <a:gd name="T40" fmla="*/ 0 w 1540"/>
                <a:gd name="T41" fmla="*/ 152 h 307"/>
                <a:gd name="T42" fmla="*/ 6 w 1540"/>
                <a:gd name="T43" fmla="*/ 113 h 307"/>
                <a:gd name="T44" fmla="*/ 21 w 1540"/>
                <a:gd name="T45" fmla="*/ 75 h 307"/>
                <a:gd name="T46" fmla="*/ 45 w 1540"/>
                <a:gd name="T47" fmla="*/ 45 h 307"/>
                <a:gd name="T48" fmla="*/ 75 w 1540"/>
                <a:gd name="T49" fmla="*/ 20 h 307"/>
                <a:gd name="T50" fmla="*/ 113 w 1540"/>
                <a:gd name="T51" fmla="*/ 5 h 307"/>
                <a:gd name="T52" fmla="*/ 153 w 1540"/>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0" h="307">
                  <a:moveTo>
                    <a:pt x="153" y="0"/>
                  </a:moveTo>
                  <a:lnTo>
                    <a:pt x="1385" y="0"/>
                  </a:lnTo>
                  <a:lnTo>
                    <a:pt x="1427" y="5"/>
                  </a:lnTo>
                  <a:lnTo>
                    <a:pt x="1463" y="20"/>
                  </a:lnTo>
                  <a:lnTo>
                    <a:pt x="1495" y="45"/>
                  </a:lnTo>
                  <a:lnTo>
                    <a:pt x="1519" y="75"/>
                  </a:lnTo>
                  <a:lnTo>
                    <a:pt x="1535" y="113"/>
                  </a:lnTo>
                  <a:lnTo>
                    <a:pt x="1540" y="152"/>
                  </a:lnTo>
                  <a:lnTo>
                    <a:pt x="1535" y="194"/>
                  </a:lnTo>
                  <a:lnTo>
                    <a:pt x="1518" y="230"/>
                  </a:lnTo>
                  <a:lnTo>
                    <a:pt x="1495" y="262"/>
                  </a:lnTo>
                  <a:lnTo>
                    <a:pt x="1463" y="286"/>
                  </a:lnTo>
                  <a:lnTo>
                    <a:pt x="1427" y="302"/>
                  </a:lnTo>
                  <a:lnTo>
                    <a:pt x="1385" y="307"/>
                  </a:lnTo>
                  <a:lnTo>
                    <a:pt x="153" y="307"/>
                  </a:lnTo>
                  <a:lnTo>
                    <a:pt x="113" y="302"/>
                  </a:lnTo>
                  <a:lnTo>
                    <a:pt x="75" y="286"/>
                  </a:lnTo>
                  <a:lnTo>
                    <a:pt x="45" y="262"/>
                  </a:lnTo>
                  <a:lnTo>
                    <a:pt x="21" y="230"/>
                  </a:lnTo>
                  <a:lnTo>
                    <a:pt x="6" y="194"/>
                  </a:lnTo>
                  <a:lnTo>
                    <a:pt x="0" y="152"/>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0" name="Freeform 191">
              <a:extLst>
                <a:ext uri="{FF2B5EF4-FFF2-40B4-BE49-F238E27FC236}">
                  <a16:creationId xmlns:a16="http://schemas.microsoft.com/office/drawing/2014/main" id="{44605396-3FA8-415A-9613-18AFD841CB10}"/>
                </a:ext>
              </a:extLst>
            </p:cNvPr>
            <p:cNvSpPr>
              <a:spLocks/>
            </p:cNvSpPr>
            <p:nvPr/>
          </p:nvSpPr>
          <p:spPr bwMode="auto">
            <a:xfrm>
              <a:off x="9991725" y="792163"/>
              <a:ext cx="244475" cy="1222375"/>
            </a:xfrm>
            <a:custGeom>
              <a:avLst/>
              <a:gdLst>
                <a:gd name="T0" fmla="*/ 153 w 308"/>
                <a:gd name="T1" fmla="*/ 0 h 1540"/>
                <a:gd name="T2" fmla="*/ 194 w 308"/>
                <a:gd name="T3" fmla="*/ 5 h 1540"/>
                <a:gd name="T4" fmla="*/ 230 w 308"/>
                <a:gd name="T5" fmla="*/ 20 h 1540"/>
                <a:gd name="T6" fmla="*/ 262 w 308"/>
                <a:gd name="T7" fmla="*/ 45 h 1540"/>
                <a:gd name="T8" fmla="*/ 285 w 308"/>
                <a:gd name="T9" fmla="*/ 75 h 1540"/>
                <a:gd name="T10" fmla="*/ 302 w 308"/>
                <a:gd name="T11" fmla="*/ 113 h 1540"/>
                <a:gd name="T12" fmla="*/ 308 w 308"/>
                <a:gd name="T13" fmla="*/ 154 h 1540"/>
                <a:gd name="T14" fmla="*/ 308 w 308"/>
                <a:gd name="T15" fmla="*/ 1385 h 1540"/>
                <a:gd name="T16" fmla="*/ 302 w 308"/>
                <a:gd name="T17" fmla="*/ 1426 h 1540"/>
                <a:gd name="T18" fmla="*/ 285 w 308"/>
                <a:gd name="T19" fmla="*/ 1462 h 1540"/>
                <a:gd name="T20" fmla="*/ 262 w 308"/>
                <a:gd name="T21" fmla="*/ 1494 h 1540"/>
                <a:gd name="T22" fmla="*/ 230 w 308"/>
                <a:gd name="T23" fmla="*/ 1519 h 1540"/>
                <a:gd name="T24" fmla="*/ 194 w 308"/>
                <a:gd name="T25" fmla="*/ 1534 h 1540"/>
                <a:gd name="T26" fmla="*/ 153 w 308"/>
                <a:gd name="T27" fmla="*/ 1540 h 1540"/>
                <a:gd name="T28" fmla="*/ 113 w 308"/>
                <a:gd name="T29" fmla="*/ 1534 h 1540"/>
                <a:gd name="T30" fmla="*/ 75 w 308"/>
                <a:gd name="T31" fmla="*/ 1519 h 1540"/>
                <a:gd name="T32" fmla="*/ 45 w 308"/>
                <a:gd name="T33" fmla="*/ 1494 h 1540"/>
                <a:gd name="T34" fmla="*/ 21 w 308"/>
                <a:gd name="T35" fmla="*/ 1462 h 1540"/>
                <a:gd name="T36" fmla="*/ 6 w 308"/>
                <a:gd name="T37" fmla="*/ 1426 h 1540"/>
                <a:gd name="T38" fmla="*/ 0 w 308"/>
                <a:gd name="T39" fmla="*/ 1385 h 1540"/>
                <a:gd name="T40" fmla="*/ 0 w 308"/>
                <a:gd name="T41" fmla="*/ 154 h 1540"/>
                <a:gd name="T42" fmla="*/ 6 w 308"/>
                <a:gd name="T43" fmla="*/ 113 h 1540"/>
                <a:gd name="T44" fmla="*/ 21 w 308"/>
                <a:gd name="T45" fmla="*/ 75 h 1540"/>
                <a:gd name="T46" fmla="*/ 45 w 308"/>
                <a:gd name="T47" fmla="*/ 45 h 1540"/>
                <a:gd name="T48" fmla="*/ 75 w 308"/>
                <a:gd name="T49" fmla="*/ 20 h 1540"/>
                <a:gd name="T50" fmla="*/ 113 w 308"/>
                <a:gd name="T51" fmla="*/ 5 h 1540"/>
                <a:gd name="T52" fmla="*/ 153 w 308"/>
                <a:gd name="T53" fmla="*/ 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8" h="1540">
                  <a:moveTo>
                    <a:pt x="153" y="0"/>
                  </a:moveTo>
                  <a:lnTo>
                    <a:pt x="194" y="5"/>
                  </a:lnTo>
                  <a:lnTo>
                    <a:pt x="230" y="20"/>
                  </a:lnTo>
                  <a:lnTo>
                    <a:pt x="262" y="45"/>
                  </a:lnTo>
                  <a:lnTo>
                    <a:pt x="285" y="75"/>
                  </a:lnTo>
                  <a:lnTo>
                    <a:pt x="302" y="113"/>
                  </a:lnTo>
                  <a:lnTo>
                    <a:pt x="308" y="154"/>
                  </a:lnTo>
                  <a:lnTo>
                    <a:pt x="308" y="1385"/>
                  </a:lnTo>
                  <a:lnTo>
                    <a:pt x="302" y="1426"/>
                  </a:lnTo>
                  <a:lnTo>
                    <a:pt x="285" y="1462"/>
                  </a:lnTo>
                  <a:lnTo>
                    <a:pt x="262" y="1494"/>
                  </a:lnTo>
                  <a:lnTo>
                    <a:pt x="230" y="1519"/>
                  </a:lnTo>
                  <a:lnTo>
                    <a:pt x="194" y="1534"/>
                  </a:lnTo>
                  <a:lnTo>
                    <a:pt x="153" y="1540"/>
                  </a:lnTo>
                  <a:lnTo>
                    <a:pt x="113" y="1534"/>
                  </a:lnTo>
                  <a:lnTo>
                    <a:pt x="75" y="1519"/>
                  </a:lnTo>
                  <a:lnTo>
                    <a:pt x="45" y="1494"/>
                  </a:lnTo>
                  <a:lnTo>
                    <a:pt x="21" y="1462"/>
                  </a:lnTo>
                  <a:lnTo>
                    <a:pt x="6" y="1426"/>
                  </a:lnTo>
                  <a:lnTo>
                    <a:pt x="0" y="1385"/>
                  </a:lnTo>
                  <a:lnTo>
                    <a:pt x="0" y="154"/>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1" name="Freeform 192">
              <a:extLst>
                <a:ext uri="{FF2B5EF4-FFF2-40B4-BE49-F238E27FC236}">
                  <a16:creationId xmlns:a16="http://schemas.microsoft.com/office/drawing/2014/main" id="{04EC1083-37D7-4801-9F69-9852FC8A04C4}"/>
                </a:ext>
              </a:extLst>
            </p:cNvPr>
            <p:cNvSpPr>
              <a:spLocks/>
            </p:cNvSpPr>
            <p:nvPr/>
          </p:nvSpPr>
          <p:spPr bwMode="auto">
            <a:xfrm>
              <a:off x="10633075" y="1344613"/>
              <a:ext cx="936625" cy="936625"/>
            </a:xfrm>
            <a:custGeom>
              <a:avLst/>
              <a:gdLst>
                <a:gd name="T0" fmla="*/ 1044 w 1180"/>
                <a:gd name="T1" fmla="*/ 0 h 1179"/>
                <a:gd name="T2" fmla="*/ 1076 w 1180"/>
                <a:gd name="T3" fmla="*/ 8 h 1179"/>
                <a:gd name="T4" fmla="*/ 1108 w 1180"/>
                <a:gd name="T5" fmla="*/ 23 h 1179"/>
                <a:gd name="T6" fmla="*/ 1134 w 1180"/>
                <a:gd name="T7" fmla="*/ 43 h 1179"/>
                <a:gd name="T8" fmla="*/ 1157 w 1180"/>
                <a:gd name="T9" fmla="*/ 72 h 1179"/>
                <a:gd name="T10" fmla="*/ 1172 w 1180"/>
                <a:gd name="T11" fmla="*/ 104 h 1179"/>
                <a:gd name="T12" fmla="*/ 1180 w 1180"/>
                <a:gd name="T13" fmla="*/ 136 h 1179"/>
                <a:gd name="T14" fmla="*/ 1180 w 1180"/>
                <a:gd name="T15" fmla="*/ 170 h 1179"/>
                <a:gd name="T16" fmla="*/ 1172 w 1180"/>
                <a:gd name="T17" fmla="*/ 202 h 1179"/>
                <a:gd name="T18" fmla="*/ 1157 w 1180"/>
                <a:gd name="T19" fmla="*/ 234 h 1179"/>
                <a:gd name="T20" fmla="*/ 1134 w 1180"/>
                <a:gd name="T21" fmla="*/ 262 h 1179"/>
                <a:gd name="T22" fmla="*/ 262 w 1180"/>
                <a:gd name="T23" fmla="*/ 1134 h 1179"/>
                <a:gd name="T24" fmla="*/ 230 w 1180"/>
                <a:gd name="T25" fmla="*/ 1159 h 1179"/>
                <a:gd name="T26" fmla="*/ 192 w 1180"/>
                <a:gd name="T27" fmla="*/ 1174 h 1179"/>
                <a:gd name="T28" fmla="*/ 153 w 1180"/>
                <a:gd name="T29" fmla="*/ 1179 h 1179"/>
                <a:gd name="T30" fmla="*/ 124 w 1180"/>
                <a:gd name="T31" fmla="*/ 1176 h 1179"/>
                <a:gd name="T32" fmla="*/ 96 w 1180"/>
                <a:gd name="T33" fmla="*/ 1168 h 1179"/>
                <a:gd name="T34" fmla="*/ 70 w 1180"/>
                <a:gd name="T35" fmla="*/ 1153 h 1179"/>
                <a:gd name="T36" fmla="*/ 45 w 1180"/>
                <a:gd name="T37" fmla="*/ 1134 h 1179"/>
                <a:gd name="T38" fmla="*/ 23 w 1180"/>
                <a:gd name="T39" fmla="*/ 1106 h 1179"/>
                <a:gd name="T40" fmla="*/ 7 w 1180"/>
                <a:gd name="T41" fmla="*/ 1076 h 1179"/>
                <a:gd name="T42" fmla="*/ 0 w 1180"/>
                <a:gd name="T43" fmla="*/ 1042 h 1179"/>
                <a:gd name="T44" fmla="*/ 0 w 1180"/>
                <a:gd name="T45" fmla="*/ 1008 h 1179"/>
                <a:gd name="T46" fmla="*/ 7 w 1180"/>
                <a:gd name="T47" fmla="*/ 976 h 1179"/>
                <a:gd name="T48" fmla="*/ 23 w 1180"/>
                <a:gd name="T49" fmla="*/ 944 h 1179"/>
                <a:gd name="T50" fmla="*/ 45 w 1180"/>
                <a:gd name="T51" fmla="*/ 917 h 1179"/>
                <a:gd name="T52" fmla="*/ 917 w 1180"/>
                <a:gd name="T53" fmla="*/ 43 h 1179"/>
                <a:gd name="T54" fmla="*/ 946 w 1180"/>
                <a:gd name="T55" fmla="*/ 23 h 1179"/>
                <a:gd name="T56" fmla="*/ 976 w 1180"/>
                <a:gd name="T57" fmla="*/ 8 h 1179"/>
                <a:gd name="T58" fmla="*/ 1010 w 1180"/>
                <a:gd name="T59" fmla="*/ 0 h 1179"/>
                <a:gd name="T60" fmla="*/ 1044 w 1180"/>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0" h="1179">
                  <a:moveTo>
                    <a:pt x="1044" y="0"/>
                  </a:moveTo>
                  <a:lnTo>
                    <a:pt x="1076" y="8"/>
                  </a:lnTo>
                  <a:lnTo>
                    <a:pt x="1108" y="23"/>
                  </a:lnTo>
                  <a:lnTo>
                    <a:pt x="1134" y="43"/>
                  </a:lnTo>
                  <a:lnTo>
                    <a:pt x="1157" y="72"/>
                  </a:lnTo>
                  <a:lnTo>
                    <a:pt x="1172" y="104"/>
                  </a:lnTo>
                  <a:lnTo>
                    <a:pt x="1180" y="136"/>
                  </a:lnTo>
                  <a:lnTo>
                    <a:pt x="1180" y="170"/>
                  </a:lnTo>
                  <a:lnTo>
                    <a:pt x="1172" y="202"/>
                  </a:lnTo>
                  <a:lnTo>
                    <a:pt x="1157" y="234"/>
                  </a:lnTo>
                  <a:lnTo>
                    <a:pt x="1134" y="262"/>
                  </a:lnTo>
                  <a:lnTo>
                    <a:pt x="262" y="1134"/>
                  </a:lnTo>
                  <a:lnTo>
                    <a:pt x="230" y="1159"/>
                  </a:lnTo>
                  <a:lnTo>
                    <a:pt x="192" y="1174"/>
                  </a:lnTo>
                  <a:lnTo>
                    <a:pt x="153" y="1179"/>
                  </a:lnTo>
                  <a:lnTo>
                    <a:pt x="124" y="1176"/>
                  </a:lnTo>
                  <a:lnTo>
                    <a:pt x="96" y="1168"/>
                  </a:lnTo>
                  <a:lnTo>
                    <a:pt x="70" y="1153"/>
                  </a:lnTo>
                  <a:lnTo>
                    <a:pt x="45" y="1134"/>
                  </a:lnTo>
                  <a:lnTo>
                    <a:pt x="23" y="1106"/>
                  </a:lnTo>
                  <a:lnTo>
                    <a:pt x="7" y="1076"/>
                  </a:lnTo>
                  <a:lnTo>
                    <a:pt x="0" y="1042"/>
                  </a:lnTo>
                  <a:lnTo>
                    <a:pt x="0" y="1008"/>
                  </a:lnTo>
                  <a:lnTo>
                    <a:pt x="7" y="976"/>
                  </a:lnTo>
                  <a:lnTo>
                    <a:pt x="23" y="944"/>
                  </a:lnTo>
                  <a:lnTo>
                    <a:pt x="45" y="917"/>
                  </a:lnTo>
                  <a:lnTo>
                    <a:pt x="917" y="43"/>
                  </a:lnTo>
                  <a:lnTo>
                    <a:pt x="946" y="23"/>
                  </a:lnTo>
                  <a:lnTo>
                    <a:pt x="976" y="8"/>
                  </a:lnTo>
                  <a:lnTo>
                    <a:pt x="1010" y="0"/>
                  </a:lnTo>
                  <a:lnTo>
                    <a:pt x="10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2" name="Freeform 193">
              <a:extLst>
                <a:ext uri="{FF2B5EF4-FFF2-40B4-BE49-F238E27FC236}">
                  <a16:creationId xmlns:a16="http://schemas.microsoft.com/office/drawing/2014/main" id="{F42B742B-2658-457A-BDD7-6A874A64671C}"/>
                </a:ext>
              </a:extLst>
            </p:cNvPr>
            <p:cNvSpPr>
              <a:spLocks/>
            </p:cNvSpPr>
            <p:nvPr/>
          </p:nvSpPr>
          <p:spPr bwMode="auto">
            <a:xfrm>
              <a:off x="8658225" y="1344613"/>
              <a:ext cx="935038" cy="936625"/>
            </a:xfrm>
            <a:custGeom>
              <a:avLst/>
              <a:gdLst>
                <a:gd name="T0" fmla="*/ 170 w 1178"/>
                <a:gd name="T1" fmla="*/ 0 h 1179"/>
                <a:gd name="T2" fmla="*/ 202 w 1178"/>
                <a:gd name="T3" fmla="*/ 8 h 1179"/>
                <a:gd name="T4" fmla="*/ 234 w 1178"/>
                <a:gd name="T5" fmla="*/ 23 h 1179"/>
                <a:gd name="T6" fmla="*/ 262 w 1178"/>
                <a:gd name="T7" fmla="*/ 43 h 1179"/>
                <a:gd name="T8" fmla="*/ 1134 w 1178"/>
                <a:gd name="T9" fmla="*/ 917 h 1179"/>
                <a:gd name="T10" fmla="*/ 1155 w 1178"/>
                <a:gd name="T11" fmla="*/ 944 h 1179"/>
                <a:gd name="T12" fmla="*/ 1170 w 1178"/>
                <a:gd name="T13" fmla="*/ 976 h 1179"/>
                <a:gd name="T14" fmla="*/ 1178 w 1178"/>
                <a:gd name="T15" fmla="*/ 1008 h 1179"/>
                <a:gd name="T16" fmla="*/ 1178 w 1178"/>
                <a:gd name="T17" fmla="*/ 1042 h 1179"/>
                <a:gd name="T18" fmla="*/ 1170 w 1178"/>
                <a:gd name="T19" fmla="*/ 1076 h 1179"/>
                <a:gd name="T20" fmla="*/ 1155 w 1178"/>
                <a:gd name="T21" fmla="*/ 1106 h 1179"/>
                <a:gd name="T22" fmla="*/ 1134 w 1178"/>
                <a:gd name="T23" fmla="*/ 1134 h 1179"/>
                <a:gd name="T24" fmla="*/ 1100 w 1178"/>
                <a:gd name="T25" fmla="*/ 1159 h 1179"/>
                <a:gd name="T26" fmla="*/ 1065 w 1178"/>
                <a:gd name="T27" fmla="*/ 1174 h 1179"/>
                <a:gd name="T28" fmla="*/ 1025 w 1178"/>
                <a:gd name="T29" fmla="*/ 1179 h 1179"/>
                <a:gd name="T30" fmla="*/ 995 w 1178"/>
                <a:gd name="T31" fmla="*/ 1176 h 1179"/>
                <a:gd name="T32" fmla="*/ 966 w 1178"/>
                <a:gd name="T33" fmla="*/ 1168 h 1179"/>
                <a:gd name="T34" fmla="*/ 940 w 1178"/>
                <a:gd name="T35" fmla="*/ 1153 h 1179"/>
                <a:gd name="T36" fmla="*/ 915 w 1178"/>
                <a:gd name="T37" fmla="*/ 1134 h 1179"/>
                <a:gd name="T38" fmla="*/ 43 w 1178"/>
                <a:gd name="T39" fmla="*/ 262 h 1179"/>
                <a:gd name="T40" fmla="*/ 21 w 1178"/>
                <a:gd name="T41" fmla="*/ 234 h 1179"/>
                <a:gd name="T42" fmla="*/ 7 w 1178"/>
                <a:gd name="T43" fmla="*/ 202 h 1179"/>
                <a:gd name="T44" fmla="*/ 0 w 1178"/>
                <a:gd name="T45" fmla="*/ 170 h 1179"/>
                <a:gd name="T46" fmla="*/ 0 w 1178"/>
                <a:gd name="T47" fmla="*/ 136 h 1179"/>
                <a:gd name="T48" fmla="*/ 7 w 1178"/>
                <a:gd name="T49" fmla="*/ 104 h 1179"/>
                <a:gd name="T50" fmla="*/ 21 w 1178"/>
                <a:gd name="T51" fmla="*/ 72 h 1179"/>
                <a:gd name="T52" fmla="*/ 43 w 1178"/>
                <a:gd name="T53" fmla="*/ 43 h 1179"/>
                <a:gd name="T54" fmla="*/ 72 w 1178"/>
                <a:gd name="T55" fmla="*/ 23 h 1179"/>
                <a:gd name="T56" fmla="*/ 102 w 1178"/>
                <a:gd name="T57" fmla="*/ 8 h 1179"/>
                <a:gd name="T58" fmla="*/ 136 w 1178"/>
                <a:gd name="T59" fmla="*/ 0 h 1179"/>
                <a:gd name="T60" fmla="*/ 170 w 1178"/>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8" h="1179">
                  <a:moveTo>
                    <a:pt x="170" y="0"/>
                  </a:moveTo>
                  <a:lnTo>
                    <a:pt x="202" y="8"/>
                  </a:lnTo>
                  <a:lnTo>
                    <a:pt x="234" y="23"/>
                  </a:lnTo>
                  <a:lnTo>
                    <a:pt x="262" y="43"/>
                  </a:lnTo>
                  <a:lnTo>
                    <a:pt x="1134" y="917"/>
                  </a:lnTo>
                  <a:lnTo>
                    <a:pt x="1155" y="944"/>
                  </a:lnTo>
                  <a:lnTo>
                    <a:pt x="1170" y="976"/>
                  </a:lnTo>
                  <a:lnTo>
                    <a:pt x="1178" y="1008"/>
                  </a:lnTo>
                  <a:lnTo>
                    <a:pt x="1178" y="1042"/>
                  </a:lnTo>
                  <a:lnTo>
                    <a:pt x="1170" y="1076"/>
                  </a:lnTo>
                  <a:lnTo>
                    <a:pt x="1155" y="1106"/>
                  </a:lnTo>
                  <a:lnTo>
                    <a:pt x="1134" y="1134"/>
                  </a:lnTo>
                  <a:lnTo>
                    <a:pt x="1100" y="1159"/>
                  </a:lnTo>
                  <a:lnTo>
                    <a:pt x="1065" y="1174"/>
                  </a:lnTo>
                  <a:lnTo>
                    <a:pt x="1025" y="1179"/>
                  </a:lnTo>
                  <a:lnTo>
                    <a:pt x="995" y="1176"/>
                  </a:lnTo>
                  <a:lnTo>
                    <a:pt x="966" y="1168"/>
                  </a:lnTo>
                  <a:lnTo>
                    <a:pt x="940" y="1153"/>
                  </a:lnTo>
                  <a:lnTo>
                    <a:pt x="915" y="1134"/>
                  </a:lnTo>
                  <a:lnTo>
                    <a:pt x="43" y="262"/>
                  </a:lnTo>
                  <a:lnTo>
                    <a:pt x="21" y="234"/>
                  </a:lnTo>
                  <a:lnTo>
                    <a:pt x="7" y="202"/>
                  </a:lnTo>
                  <a:lnTo>
                    <a:pt x="0" y="170"/>
                  </a:lnTo>
                  <a:lnTo>
                    <a:pt x="0" y="136"/>
                  </a:lnTo>
                  <a:lnTo>
                    <a:pt x="7" y="104"/>
                  </a:lnTo>
                  <a:lnTo>
                    <a:pt x="21" y="72"/>
                  </a:lnTo>
                  <a:lnTo>
                    <a:pt x="43" y="43"/>
                  </a:lnTo>
                  <a:lnTo>
                    <a:pt x="72" y="23"/>
                  </a:lnTo>
                  <a:lnTo>
                    <a:pt x="102" y="8"/>
                  </a:lnTo>
                  <a:lnTo>
                    <a:pt x="136" y="0"/>
                  </a:lnTo>
                  <a:lnTo>
                    <a:pt x="1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3" name="Freeform 194">
              <a:extLst>
                <a:ext uri="{FF2B5EF4-FFF2-40B4-BE49-F238E27FC236}">
                  <a16:creationId xmlns:a16="http://schemas.microsoft.com/office/drawing/2014/main" id="{9D291B4A-9507-4E9F-8629-98C0249AC7EC}"/>
                </a:ext>
              </a:extLst>
            </p:cNvPr>
            <p:cNvSpPr>
              <a:spLocks noEditPoints="1"/>
            </p:cNvSpPr>
            <p:nvPr/>
          </p:nvSpPr>
          <p:spPr bwMode="auto">
            <a:xfrm>
              <a:off x="8272463" y="2347913"/>
              <a:ext cx="3489325" cy="3368675"/>
            </a:xfrm>
            <a:custGeom>
              <a:avLst/>
              <a:gdLst>
                <a:gd name="T0" fmla="*/ 307 w 4394"/>
                <a:gd name="T1" fmla="*/ 1901 h 4245"/>
                <a:gd name="T2" fmla="*/ 315 w 4394"/>
                <a:gd name="T3" fmla="*/ 3826 h 4245"/>
                <a:gd name="T4" fmla="*/ 912 w 4394"/>
                <a:gd name="T5" fmla="*/ 3816 h 4245"/>
                <a:gd name="T6" fmla="*/ 902 w 4394"/>
                <a:gd name="T7" fmla="*/ 1891 h 4245"/>
                <a:gd name="T8" fmla="*/ 2139 w 4394"/>
                <a:gd name="T9" fmla="*/ 933 h 4245"/>
                <a:gd name="T10" fmla="*/ 2063 w 4394"/>
                <a:gd name="T11" fmla="*/ 1306 h 4245"/>
                <a:gd name="T12" fmla="*/ 1842 w 4394"/>
                <a:gd name="T13" fmla="*/ 1627 h 4245"/>
                <a:gd name="T14" fmla="*/ 1561 w 4394"/>
                <a:gd name="T15" fmla="*/ 1841 h 4245"/>
                <a:gd name="T16" fmla="*/ 1357 w 4394"/>
                <a:gd name="T17" fmla="*/ 1941 h 4245"/>
                <a:gd name="T18" fmla="*/ 1242 w 4394"/>
                <a:gd name="T19" fmla="*/ 1982 h 4245"/>
                <a:gd name="T20" fmla="*/ 1219 w 4394"/>
                <a:gd name="T21" fmla="*/ 1988 h 4245"/>
                <a:gd name="T22" fmla="*/ 1238 w 4394"/>
                <a:gd name="T23" fmla="*/ 3711 h 4245"/>
                <a:gd name="T24" fmla="*/ 1385 w 4394"/>
                <a:gd name="T25" fmla="*/ 3890 h 4245"/>
                <a:gd name="T26" fmla="*/ 3392 w 4394"/>
                <a:gd name="T27" fmla="*/ 3937 h 4245"/>
                <a:gd name="T28" fmla="*/ 3634 w 4394"/>
                <a:gd name="T29" fmla="*/ 3894 h 4245"/>
                <a:gd name="T30" fmla="*/ 3768 w 4394"/>
                <a:gd name="T31" fmla="*/ 3794 h 4245"/>
                <a:gd name="T32" fmla="*/ 3826 w 4394"/>
                <a:gd name="T33" fmla="*/ 3675 h 4245"/>
                <a:gd name="T34" fmla="*/ 3843 w 4394"/>
                <a:gd name="T35" fmla="*/ 3582 h 4245"/>
                <a:gd name="T36" fmla="*/ 4087 w 4394"/>
                <a:gd name="T37" fmla="*/ 2046 h 4245"/>
                <a:gd name="T38" fmla="*/ 4032 w 4394"/>
                <a:gd name="T39" fmla="*/ 1848 h 4245"/>
                <a:gd name="T40" fmla="*/ 3864 w 4394"/>
                <a:gd name="T41" fmla="*/ 1710 h 4245"/>
                <a:gd name="T42" fmla="*/ 2676 w 4394"/>
                <a:gd name="T43" fmla="*/ 1684 h 4245"/>
                <a:gd name="T44" fmla="*/ 2569 w 4394"/>
                <a:gd name="T45" fmla="*/ 1576 h 4245"/>
                <a:gd name="T46" fmla="*/ 2554 w 4394"/>
                <a:gd name="T47" fmla="*/ 610 h 4245"/>
                <a:gd name="T48" fmla="*/ 2463 w 4394"/>
                <a:gd name="T49" fmla="*/ 401 h 4245"/>
                <a:gd name="T50" fmla="*/ 2282 w 4394"/>
                <a:gd name="T51" fmla="*/ 312 h 4245"/>
                <a:gd name="T52" fmla="*/ 2233 w 4394"/>
                <a:gd name="T53" fmla="*/ 0 h 4245"/>
                <a:gd name="T54" fmla="*/ 2484 w 4394"/>
                <a:gd name="T55" fmla="*/ 51 h 4245"/>
                <a:gd name="T56" fmla="*/ 2712 w 4394"/>
                <a:gd name="T57" fmla="*/ 219 h 4245"/>
                <a:gd name="T58" fmla="*/ 2843 w 4394"/>
                <a:gd name="T59" fmla="*/ 493 h 4245"/>
                <a:gd name="T60" fmla="*/ 2871 w 4394"/>
                <a:gd name="T61" fmla="*/ 1384 h 4245"/>
                <a:gd name="T62" fmla="*/ 3971 w 4394"/>
                <a:gd name="T63" fmla="*/ 1423 h 4245"/>
                <a:gd name="T64" fmla="*/ 4221 w 4394"/>
                <a:gd name="T65" fmla="*/ 1591 h 4245"/>
                <a:gd name="T66" fmla="*/ 4366 w 4394"/>
                <a:gd name="T67" fmla="*/ 1848 h 4245"/>
                <a:gd name="T68" fmla="*/ 4387 w 4394"/>
                <a:gd name="T69" fmla="*/ 2148 h 4245"/>
                <a:gd name="T70" fmla="*/ 4075 w 4394"/>
                <a:gd name="T71" fmla="*/ 3873 h 4245"/>
                <a:gd name="T72" fmla="*/ 3864 w 4394"/>
                <a:gd name="T73" fmla="*/ 4117 h 4245"/>
                <a:gd name="T74" fmla="*/ 3567 w 4394"/>
                <a:gd name="T75" fmla="*/ 4230 h 4245"/>
                <a:gd name="T76" fmla="*/ 1470 w 4394"/>
                <a:gd name="T77" fmla="*/ 4237 h 4245"/>
                <a:gd name="T78" fmla="*/ 1168 w 4394"/>
                <a:gd name="T79" fmla="*/ 4113 h 4245"/>
                <a:gd name="T80" fmla="*/ 959 w 4394"/>
                <a:gd name="T81" fmla="*/ 4128 h 4245"/>
                <a:gd name="T82" fmla="*/ 206 w 4394"/>
                <a:gd name="T83" fmla="*/ 4113 h 4245"/>
                <a:gd name="T84" fmla="*/ 43 w 4394"/>
                <a:gd name="T85" fmla="*/ 3975 h 4245"/>
                <a:gd name="T86" fmla="*/ 0 w 4394"/>
                <a:gd name="T87" fmla="*/ 1901 h 4245"/>
                <a:gd name="T88" fmla="*/ 73 w 4394"/>
                <a:gd name="T89" fmla="*/ 1697 h 4245"/>
                <a:gd name="T90" fmla="*/ 258 w 4394"/>
                <a:gd name="T91" fmla="*/ 1590 h 4245"/>
                <a:gd name="T92" fmla="*/ 1008 w 4394"/>
                <a:gd name="T93" fmla="*/ 1603 h 4245"/>
                <a:gd name="T94" fmla="*/ 1153 w 4394"/>
                <a:gd name="T95" fmla="*/ 1686 h 4245"/>
                <a:gd name="T96" fmla="*/ 1255 w 4394"/>
                <a:gd name="T97" fmla="*/ 1648 h 4245"/>
                <a:gd name="T98" fmla="*/ 1451 w 4394"/>
                <a:gd name="T99" fmla="*/ 1544 h 4245"/>
                <a:gd name="T100" fmla="*/ 1704 w 4394"/>
                <a:gd name="T101" fmla="*/ 1318 h 4245"/>
                <a:gd name="T102" fmla="*/ 1827 w 4394"/>
                <a:gd name="T103" fmla="*/ 1016 h 4245"/>
                <a:gd name="T104" fmla="*/ 1852 w 4394"/>
                <a:gd name="T105" fmla="*/ 108 h 4245"/>
                <a:gd name="T106" fmla="*/ 1948 w 4394"/>
                <a:gd name="T107" fmla="*/ 34 h 4245"/>
                <a:gd name="T108" fmla="*/ 2072 w 4394"/>
                <a:gd name="T109" fmla="*/ 8 h 4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94" h="4245">
                  <a:moveTo>
                    <a:pt x="315" y="1891"/>
                  </a:moveTo>
                  <a:lnTo>
                    <a:pt x="311" y="1891"/>
                  </a:lnTo>
                  <a:lnTo>
                    <a:pt x="307" y="1895"/>
                  </a:lnTo>
                  <a:lnTo>
                    <a:pt x="307" y="1901"/>
                  </a:lnTo>
                  <a:lnTo>
                    <a:pt x="307" y="3816"/>
                  </a:lnTo>
                  <a:lnTo>
                    <a:pt x="307" y="3820"/>
                  </a:lnTo>
                  <a:lnTo>
                    <a:pt x="311" y="3824"/>
                  </a:lnTo>
                  <a:lnTo>
                    <a:pt x="315" y="3826"/>
                  </a:lnTo>
                  <a:lnTo>
                    <a:pt x="902" y="3826"/>
                  </a:lnTo>
                  <a:lnTo>
                    <a:pt x="908" y="3824"/>
                  </a:lnTo>
                  <a:lnTo>
                    <a:pt x="910" y="3820"/>
                  </a:lnTo>
                  <a:lnTo>
                    <a:pt x="912" y="3816"/>
                  </a:lnTo>
                  <a:lnTo>
                    <a:pt x="912" y="1901"/>
                  </a:lnTo>
                  <a:lnTo>
                    <a:pt x="910" y="1895"/>
                  </a:lnTo>
                  <a:lnTo>
                    <a:pt x="908" y="1891"/>
                  </a:lnTo>
                  <a:lnTo>
                    <a:pt x="902" y="1891"/>
                  </a:lnTo>
                  <a:lnTo>
                    <a:pt x="315" y="1891"/>
                  </a:lnTo>
                  <a:close/>
                  <a:moveTo>
                    <a:pt x="2184" y="306"/>
                  </a:moveTo>
                  <a:lnTo>
                    <a:pt x="2139" y="310"/>
                  </a:lnTo>
                  <a:lnTo>
                    <a:pt x="2139" y="933"/>
                  </a:lnTo>
                  <a:lnTo>
                    <a:pt x="2135" y="1029"/>
                  </a:lnTo>
                  <a:lnTo>
                    <a:pt x="2120" y="1125"/>
                  </a:lnTo>
                  <a:lnTo>
                    <a:pt x="2097" y="1218"/>
                  </a:lnTo>
                  <a:lnTo>
                    <a:pt x="2063" y="1306"/>
                  </a:lnTo>
                  <a:lnTo>
                    <a:pt x="2021" y="1391"/>
                  </a:lnTo>
                  <a:lnTo>
                    <a:pt x="1970" y="1474"/>
                  </a:lnTo>
                  <a:lnTo>
                    <a:pt x="1910" y="1552"/>
                  </a:lnTo>
                  <a:lnTo>
                    <a:pt x="1842" y="1627"/>
                  </a:lnTo>
                  <a:lnTo>
                    <a:pt x="1763" y="1697"/>
                  </a:lnTo>
                  <a:lnTo>
                    <a:pt x="1678" y="1765"/>
                  </a:lnTo>
                  <a:lnTo>
                    <a:pt x="1619" y="1805"/>
                  </a:lnTo>
                  <a:lnTo>
                    <a:pt x="1561" y="1841"/>
                  </a:lnTo>
                  <a:lnTo>
                    <a:pt x="1504" y="1871"/>
                  </a:lnTo>
                  <a:lnTo>
                    <a:pt x="1451" y="1897"/>
                  </a:lnTo>
                  <a:lnTo>
                    <a:pt x="1402" y="1922"/>
                  </a:lnTo>
                  <a:lnTo>
                    <a:pt x="1357" y="1941"/>
                  </a:lnTo>
                  <a:lnTo>
                    <a:pt x="1317" y="1956"/>
                  </a:lnTo>
                  <a:lnTo>
                    <a:pt x="1283" y="1967"/>
                  </a:lnTo>
                  <a:lnTo>
                    <a:pt x="1259" y="1976"/>
                  </a:lnTo>
                  <a:lnTo>
                    <a:pt x="1242" y="1982"/>
                  </a:lnTo>
                  <a:lnTo>
                    <a:pt x="1234" y="1984"/>
                  </a:lnTo>
                  <a:lnTo>
                    <a:pt x="1231" y="1984"/>
                  </a:lnTo>
                  <a:lnTo>
                    <a:pt x="1229" y="1984"/>
                  </a:lnTo>
                  <a:lnTo>
                    <a:pt x="1219" y="1988"/>
                  </a:lnTo>
                  <a:lnTo>
                    <a:pt x="1219" y="3633"/>
                  </a:lnTo>
                  <a:lnTo>
                    <a:pt x="1221" y="3643"/>
                  </a:lnTo>
                  <a:lnTo>
                    <a:pt x="1223" y="3652"/>
                  </a:lnTo>
                  <a:lnTo>
                    <a:pt x="1238" y="3711"/>
                  </a:lnTo>
                  <a:lnTo>
                    <a:pt x="1263" y="3766"/>
                  </a:lnTo>
                  <a:lnTo>
                    <a:pt x="1297" y="3815"/>
                  </a:lnTo>
                  <a:lnTo>
                    <a:pt x="1338" y="3856"/>
                  </a:lnTo>
                  <a:lnTo>
                    <a:pt x="1385" y="3890"/>
                  </a:lnTo>
                  <a:lnTo>
                    <a:pt x="1438" y="3917"/>
                  </a:lnTo>
                  <a:lnTo>
                    <a:pt x="1495" y="3932"/>
                  </a:lnTo>
                  <a:lnTo>
                    <a:pt x="1555" y="3937"/>
                  </a:lnTo>
                  <a:lnTo>
                    <a:pt x="3392" y="3937"/>
                  </a:lnTo>
                  <a:lnTo>
                    <a:pt x="3464" y="3935"/>
                  </a:lnTo>
                  <a:lnTo>
                    <a:pt x="3528" y="3926"/>
                  </a:lnTo>
                  <a:lnTo>
                    <a:pt x="3584" y="3913"/>
                  </a:lnTo>
                  <a:lnTo>
                    <a:pt x="3634" y="3894"/>
                  </a:lnTo>
                  <a:lnTo>
                    <a:pt x="3675" y="3873"/>
                  </a:lnTo>
                  <a:lnTo>
                    <a:pt x="3711" y="3849"/>
                  </a:lnTo>
                  <a:lnTo>
                    <a:pt x="3743" y="3822"/>
                  </a:lnTo>
                  <a:lnTo>
                    <a:pt x="3768" y="3794"/>
                  </a:lnTo>
                  <a:lnTo>
                    <a:pt x="3788" y="3764"/>
                  </a:lnTo>
                  <a:lnTo>
                    <a:pt x="3803" y="3733"/>
                  </a:lnTo>
                  <a:lnTo>
                    <a:pt x="3817" y="3703"/>
                  </a:lnTo>
                  <a:lnTo>
                    <a:pt x="3826" y="3675"/>
                  </a:lnTo>
                  <a:lnTo>
                    <a:pt x="3834" y="3647"/>
                  </a:lnTo>
                  <a:lnTo>
                    <a:pt x="3839" y="3622"/>
                  </a:lnTo>
                  <a:lnTo>
                    <a:pt x="3841" y="3599"/>
                  </a:lnTo>
                  <a:lnTo>
                    <a:pt x="3843" y="3582"/>
                  </a:lnTo>
                  <a:lnTo>
                    <a:pt x="3845" y="3579"/>
                  </a:lnTo>
                  <a:lnTo>
                    <a:pt x="3845" y="3575"/>
                  </a:lnTo>
                  <a:lnTo>
                    <a:pt x="4083" y="2099"/>
                  </a:lnTo>
                  <a:lnTo>
                    <a:pt x="4087" y="2046"/>
                  </a:lnTo>
                  <a:lnTo>
                    <a:pt x="4083" y="1993"/>
                  </a:lnTo>
                  <a:lnTo>
                    <a:pt x="4073" y="1942"/>
                  </a:lnTo>
                  <a:lnTo>
                    <a:pt x="4056" y="1895"/>
                  </a:lnTo>
                  <a:lnTo>
                    <a:pt x="4032" y="1848"/>
                  </a:lnTo>
                  <a:lnTo>
                    <a:pt x="4002" y="1807"/>
                  </a:lnTo>
                  <a:lnTo>
                    <a:pt x="3966" y="1771"/>
                  </a:lnTo>
                  <a:lnTo>
                    <a:pt x="3917" y="1737"/>
                  </a:lnTo>
                  <a:lnTo>
                    <a:pt x="3864" y="1710"/>
                  </a:lnTo>
                  <a:lnTo>
                    <a:pt x="3809" y="1695"/>
                  </a:lnTo>
                  <a:lnTo>
                    <a:pt x="3752" y="1690"/>
                  </a:lnTo>
                  <a:lnTo>
                    <a:pt x="2718" y="1690"/>
                  </a:lnTo>
                  <a:lnTo>
                    <a:pt x="2676" y="1684"/>
                  </a:lnTo>
                  <a:lnTo>
                    <a:pt x="2641" y="1669"/>
                  </a:lnTo>
                  <a:lnTo>
                    <a:pt x="2609" y="1644"/>
                  </a:lnTo>
                  <a:lnTo>
                    <a:pt x="2586" y="1614"/>
                  </a:lnTo>
                  <a:lnTo>
                    <a:pt x="2569" y="1576"/>
                  </a:lnTo>
                  <a:lnTo>
                    <a:pt x="2565" y="1537"/>
                  </a:lnTo>
                  <a:lnTo>
                    <a:pt x="2565" y="761"/>
                  </a:lnTo>
                  <a:lnTo>
                    <a:pt x="2561" y="682"/>
                  </a:lnTo>
                  <a:lnTo>
                    <a:pt x="2554" y="610"/>
                  </a:lnTo>
                  <a:lnTo>
                    <a:pt x="2539" y="546"/>
                  </a:lnTo>
                  <a:lnTo>
                    <a:pt x="2520" y="489"/>
                  </a:lnTo>
                  <a:lnTo>
                    <a:pt x="2493" y="440"/>
                  </a:lnTo>
                  <a:lnTo>
                    <a:pt x="2463" y="401"/>
                  </a:lnTo>
                  <a:lnTo>
                    <a:pt x="2425" y="367"/>
                  </a:lnTo>
                  <a:lnTo>
                    <a:pt x="2380" y="340"/>
                  </a:lnTo>
                  <a:lnTo>
                    <a:pt x="2333" y="321"/>
                  </a:lnTo>
                  <a:lnTo>
                    <a:pt x="2282" y="312"/>
                  </a:lnTo>
                  <a:lnTo>
                    <a:pt x="2231" y="306"/>
                  </a:lnTo>
                  <a:lnTo>
                    <a:pt x="2184" y="306"/>
                  </a:lnTo>
                  <a:close/>
                  <a:moveTo>
                    <a:pt x="2176" y="0"/>
                  </a:moveTo>
                  <a:lnTo>
                    <a:pt x="2233" y="0"/>
                  </a:lnTo>
                  <a:lnTo>
                    <a:pt x="2295" y="4"/>
                  </a:lnTo>
                  <a:lnTo>
                    <a:pt x="2357" y="14"/>
                  </a:lnTo>
                  <a:lnTo>
                    <a:pt x="2422" y="29"/>
                  </a:lnTo>
                  <a:lnTo>
                    <a:pt x="2484" y="51"/>
                  </a:lnTo>
                  <a:lnTo>
                    <a:pt x="2546" y="82"/>
                  </a:lnTo>
                  <a:lnTo>
                    <a:pt x="2609" y="119"/>
                  </a:lnTo>
                  <a:lnTo>
                    <a:pt x="2663" y="167"/>
                  </a:lnTo>
                  <a:lnTo>
                    <a:pt x="2712" y="219"/>
                  </a:lnTo>
                  <a:lnTo>
                    <a:pt x="2754" y="278"/>
                  </a:lnTo>
                  <a:lnTo>
                    <a:pt x="2790" y="344"/>
                  </a:lnTo>
                  <a:lnTo>
                    <a:pt x="2820" y="416"/>
                  </a:lnTo>
                  <a:lnTo>
                    <a:pt x="2843" y="493"/>
                  </a:lnTo>
                  <a:lnTo>
                    <a:pt x="2858" y="576"/>
                  </a:lnTo>
                  <a:lnTo>
                    <a:pt x="2869" y="667"/>
                  </a:lnTo>
                  <a:lnTo>
                    <a:pt x="2871" y="763"/>
                  </a:lnTo>
                  <a:lnTo>
                    <a:pt x="2871" y="1384"/>
                  </a:lnTo>
                  <a:lnTo>
                    <a:pt x="3752" y="1384"/>
                  </a:lnTo>
                  <a:lnTo>
                    <a:pt x="3826" y="1388"/>
                  </a:lnTo>
                  <a:lnTo>
                    <a:pt x="3900" y="1403"/>
                  </a:lnTo>
                  <a:lnTo>
                    <a:pt x="3971" y="1423"/>
                  </a:lnTo>
                  <a:lnTo>
                    <a:pt x="4039" y="1454"/>
                  </a:lnTo>
                  <a:lnTo>
                    <a:pt x="4105" y="1493"/>
                  </a:lnTo>
                  <a:lnTo>
                    <a:pt x="4166" y="1539"/>
                  </a:lnTo>
                  <a:lnTo>
                    <a:pt x="4221" y="1591"/>
                  </a:lnTo>
                  <a:lnTo>
                    <a:pt x="4268" y="1648"/>
                  </a:lnTo>
                  <a:lnTo>
                    <a:pt x="4307" y="1712"/>
                  </a:lnTo>
                  <a:lnTo>
                    <a:pt x="4341" y="1778"/>
                  </a:lnTo>
                  <a:lnTo>
                    <a:pt x="4366" y="1848"/>
                  </a:lnTo>
                  <a:lnTo>
                    <a:pt x="4383" y="1922"/>
                  </a:lnTo>
                  <a:lnTo>
                    <a:pt x="4392" y="1995"/>
                  </a:lnTo>
                  <a:lnTo>
                    <a:pt x="4394" y="2071"/>
                  </a:lnTo>
                  <a:lnTo>
                    <a:pt x="4387" y="2148"/>
                  </a:lnTo>
                  <a:lnTo>
                    <a:pt x="4149" y="3620"/>
                  </a:lnTo>
                  <a:lnTo>
                    <a:pt x="4132" y="3711"/>
                  </a:lnTo>
                  <a:lnTo>
                    <a:pt x="4107" y="3796"/>
                  </a:lnTo>
                  <a:lnTo>
                    <a:pt x="4075" y="3873"/>
                  </a:lnTo>
                  <a:lnTo>
                    <a:pt x="4034" y="3945"/>
                  </a:lnTo>
                  <a:lnTo>
                    <a:pt x="3985" y="4009"/>
                  </a:lnTo>
                  <a:lnTo>
                    <a:pt x="3928" y="4066"/>
                  </a:lnTo>
                  <a:lnTo>
                    <a:pt x="3864" y="4117"/>
                  </a:lnTo>
                  <a:lnTo>
                    <a:pt x="3798" y="4154"/>
                  </a:lnTo>
                  <a:lnTo>
                    <a:pt x="3726" y="4186"/>
                  </a:lnTo>
                  <a:lnTo>
                    <a:pt x="3651" y="4211"/>
                  </a:lnTo>
                  <a:lnTo>
                    <a:pt x="3567" y="4230"/>
                  </a:lnTo>
                  <a:lnTo>
                    <a:pt x="3483" y="4241"/>
                  </a:lnTo>
                  <a:lnTo>
                    <a:pt x="3392" y="4245"/>
                  </a:lnTo>
                  <a:lnTo>
                    <a:pt x="1555" y="4245"/>
                  </a:lnTo>
                  <a:lnTo>
                    <a:pt x="1470" y="4237"/>
                  </a:lnTo>
                  <a:lnTo>
                    <a:pt x="1389" y="4222"/>
                  </a:lnTo>
                  <a:lnTo>
                    <a:pt x="1310" y="4194"/>
                  </a:lnTo>
                  <a:lnTo>
                    <a:pt x="1236" y="4158"/>
                  </a:lnTo>
                  <a:lnTo>
                    <a:pt x="1168" y="4113"/>
                  </a:lnTo>
                  <a:lnTo>
                    <a:pt x="1106" y="4058"/>
                  </a:lnTo>
                  <a:lnTo>
                    <a:pt x="1061" y="4090"/>
                  </a:lnTo>
                  <a:lnTo>
                    <a:pt x="1012" y="4113"/>
                  </a:lnTo>
                  <a:lnTo>
                    <a:pt x="959" y="4128"/>
                  </a:lnTo>
                  <a:lnTo>
                    <a:pt x="902" y="4132"/>
                  </a:lnTo>
                  <a:lnTo>
                    <a:pt x="315" y="4132"/>
                  </a:lnTo>
                  <a:lnTo>
                    <a:pt x="258" y="4128"/>
                  </a:lnTo>
                  <a:lnTo>
                    <a:pt x="206" y="4113"/>
                  </a:lnTo>
                  <a:lnTo>
                    <a:pt x="156" y="4090"/>
                  </a:lnTo>
                  <a:lnTo>
                    <a:pt x="113" y="4058"/>
                  </a:lnTo>
                  <a:lnTo>
                    <a:pt x="73" y="4020"/>
                  </a:lnTo>
                  <a:lnTo>
                    <a:pt x="43" y="3975"/>
                  </a:lnTo>
                  <a:lnTo>
                    <a:pt x="19" y="3926"/>
                  </a:lnTo>
                  <a:lnTo>
                    <a:pt x="5" y="3873"/>
                  </a:lnTo>
                  <a:lnTo>
                    <a:pt x="0" y="3816"/>
                  </a:lnTo>
                  <a:lnTo>
                    <a:pt x="0" y="1901"/>
                  </a:lnTo>
                  <a:lnTo>
                    <a:pt x="5" y="1844"/>
                  </a:lnTo>
                  <a:lnTo>
                    <a:pt x="19" y="1790"/>
                  </a:lnTo>
                  <a:lnTo>
                    <a:pt x="43" y="1740"/>
                  </a:lnTo>
                  <a:lnTo>
                    <a:pt x="73" y="1697"/>
                  </a:lnTo>
                  <a:lnTo>
                    <a:pt x="113" y="1657"/>
                  </a:lnTo>
                  <a:lnTo>
                    <a:pt x="156" y="1627"/>
                  </a:lnTo>
                  <a:lnTo>
                    <a:pt x="206" y="1603"/>
                  </a:lnTo>
                  <a:lnTo>
                    <a:pt x="258" y="1590"/>
                  </a:lnTo>
                  <a:lnTo>
                    <a:pt x="315" y="1584"/>
                  </a:lnTo>
                  <a:lnTo>
                    <a:pt x="900" y="1584"/>
                  </a:lnTo>
                  <a:lnTo>
                    <a:pt x="955" y="1588"/>
                  </a:lnTo>
                  <a:lnTo>
                    <a:pt x="1008" y="1603"/>
                  </a:lnTo>
                  <a:lnTo>
                    <a:pt x="1057" y="1623"/>
                  </a:lnTo>
                  <a:lnTo>
                    <a:pt x="1100" y="1654"/>
                  </a:lnTo>
                  <a:lnTo>
                    <a:pt x="1136" y="1690"/>
                  </a:lnTo>
                  <a:lnTo>
                    <a:pt x="1153" y="1686"/>
                  </a:lnTo>
                  <a:lnTo>
                    <a:pt x="1164" y="1682"/>
                  </a:lnTo>
                  <a:lnTo>
                    <a:pt x="1187" y="1674"/>
                  </a:lnTo>
                  <a:lnTo>
                    <a:pt x="1217" y="1663"/>
                  </a:lnTo>
                  <a:lnTo>
                    <a:pt x="1255" y="1648"/>
                  </a:lnTo>
                  <a:lnTo>
                    <a:pt x="1298" y="1629"/>
                  </a:lnTo>
                  <a:lnTo>
                    <a:pt x="1346" y="1605"/>
                  </a:lnTo>
                  <a:lnTo>
                    <a:pt x="1399" y="1578"/>
                  </a:lnTo>
                  <a:lnTo>
                    <a:pt x="1451" y="1544"/>
                  </a:lnTo>
                  <a:lnTo>
                    <a:pt x="1506" y="1508"/>
                  </a:lnTo>
                  <a:lnTo>
                    <a:pt x="1582" y="1448"/>
                  </a:lnTo>
                  <a:lnTo>
                    <a:pt x="1648" y="1386"/>
                  </a:lnTo>
                  <a:lnTo>
                    <a:pt x="1704" y="1318"/>
                  </a:lnTo>
                  <a:lnTo>
                    <a:pt x="1750" y="1248"/>
                  </a:lnTo>
                  <a:lnTo>
                    <a:pt x="1786" y="1174"/>
                  </a:lnTo>
                  <a:lnTo>
                    <a:pt x="1810" y="1097"/>
                  </a:lnTo>
                  <a:lnTo>
                    <a:pt x="1827" y="1016"/>
                  </a:lnTo>
                  <a:lnTo>
                    <a:pt x="1831" y="933"/>
                  </a:lnTo>
                  <a:lnTo>
                    <a:pt x="1831" y="182"/>
                  </a:lnTo>
                  <a:lnTo>
                    <a:pt x="1836" y="144"/>
                  </a:lnTo>
                  <a:lnTo>
                    <a:pt x="1852" y="108"/>
                  </a:lnTo>
                  <a:lnTo>
                    <a:pt x="1874" y="78"/>
                  </a:lnTo>
                  <a:lnTo>
                    <a:pt x="1903" y="53"/>
                  </a:lnTo>
                  <a:lnTo>
                    <a:pt x="1938" y="36"/>
                  </a:lnTo>
                  <a:lnTo>
                    <a:pt x="1948" y="34"/>
                  </a:lnTo>
                  <a:lnTo>
                    <a:pt x="1967" y="29"/>
                  </a:lnTo>
                  <a:lnTo>
                    <a:pt x="1995" y="23"/>
                  </a:lnTo>
                  <a:lnTo>
                    <a:pt x="2031" y="16"/>
                  </a:lnTo>
                  <a:lnTo>
                    <a:pt x="2072" y="8"/>
                  </a:lnTo>
                  <a:lnTo>
                    <a:pt x="2122" y="4"/>
                  </a:lnTo>
                  <a:lnTo>
                    <a:pt x="21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36" name="Graphique 34" descr="Tendance à la baisse">
            <a:extLst>
              <a:ext uri="{FF2B5EF4-FFF2-40B4-BE49-F238E27FC236}">
                <a16:creationId xmlns:a16="http://schemas.microsoft.com/office/drawing/2014/main" id="{21D0E883-4B1A-4163-8F99-C294F8E5D25E}"/>
              </a:ext>
            </a:extLst>
          </p:cNvPr>
          <p:cNvGrpSpPr/>
          <p:nvPr/>
        </p:nvGrpSpPr>
        <p:grpSpPr>
          <a:xfrm>
            <a:off x="604289" y="3583502"/>
            <a:ext cx="482761" cy="482761"/>
            <a:chOff x="87786" y="3633397"/>
            <a:chExt cx="482761" cy="482761"/>
          </a:xfrm>
        </p:grpSpPr>
        <p:sp>
          <p:nvSpPr>
            <p:cNvPr id="37" name="Forme libre : forme 36">
              <a:extLst>
                <a:ext uri="{FF2B5EF4-FFF2-40B4-BE49-F238E27FC236}">
                  <a16:creationId xmlns:a16="http://schemas.microsoft.com/office/drawing/2014/main" id="{EEF6D649-C999-4A7C-901D-89273223E29F}"/>
                </a:ext>
              </a:extLst>
            </p:cNvPr>
            <p:cNvSpPr/>
            <p:nvPr/>
          </p:nvSpPr>
          <p:spPr>
            <a:xfrm>
              <a:off x="158188" y="3703799"/>
              <a:ext cx="341955" cy="341955"/>
            </a:xfrm>
            <a:custGeom>
              <a:avLst/>
              <a:gdLst>
                <a:gd name="connsiteX0" fmla="*/ 30173 w 341955"/>
                <a:gd name="connsiteY0" fmla="*/ 0 h 341955"/>
                <a:gd name="connsiteX1" fmla="*/ 0 w 341955"/>
                <a:gd name="connsiteY1" fmla="*/ 0 h 341955"/>
                <a:gd name="connsiteX2" fmla="*/ 0 w 341955"/>
                <a:gd name="connsiteY2" fmla="*/ 341956 h 341955"/>
                <a:gd name="connsiteX3" fmla="*/ 341956 w 341955"/>
                <a:gd name="connsiteY3" fmla="*/ 341956 h 341955"/>
                <a:gd name="connsiteX4" fmla="*/ 341956 w 341955"/>
                <a:gd name="connsiteY4" fmla="*/ 311783 h 341955"/>
                <a:gd name="connsiteX5" fmla="*/ 30173 w 341955"/>
                <a:gd name="connsiteY5" fmla="*/ 311783 h 34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955" h="341955">
                  <a:moveTo>
                    <a:pt x="30173" y="0"/>
                  </a:moveTo>
                  <a:lnTo>
                    <a:pt x="0" y="0"/>
                  </a:lnTo>
                  <a:lnTo>
                    <a:pt x="0" y="341956"/>
                  </a:lnTo>
                  <a:lnTo>
                    <a:pt x="341956" y="341956"/>
                  </a:lnTo>
                  <a:lnTo>
                    <a:pt x="341956" y="311783"/>
                  </a:lnTo>
                  <a:lnTo>
                    <a:pt x="30173" y="311783"/>
                  </a:lnTo>
                  <a:close/>
                </a:path>
              </a:pathLst>
            </a:custGeom>
            <a:solidFill>
              <a:srgbClr val="1B9D91"/>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endParaRPr lang="fr-FR"/>
            </a:p>
          </p:txBody>
        </p:sp>
        <p:sp>
          <p:nvSpPr>
            <p:cNvPr id="38" name="Forme libre : forme 37">
              <a:extLst>
                <a:ext uri="{FF2B5EF4-FFF2-40B4-BE49-F238E27FC236}">
                  <a16:creationId xmlns:a16="http://schemas.microsoft.com/office/drawing/2014/main" id="{BFBA06CC-F81C-44A6-8714-095F20423F5C}"/>
                </a:ext>
              </a:extLst>
            </p:cNvPr>
            <p:cNvSpPr/>
            <p:nvPr/>
          </p:nvSpPr>
          <p:spPr>
            <a:xfrm>
              <a:off x="207973" y="3788785"/>
              <a:ext cx="292170" cy="171480"/>
            </a:xfrm>
            <a:custGeom>
              <a:avLst/>
              <a:gdLst>
                <a:gd name="connsiteX0" fmla="*/ 262501 w 292170"/>
                <a:gd name="connsiteY0" fmla="*/ 120690 h 171480"/>
                <a:gd name="connsiteX1" fmla="*/ 201653 w 292170"/>
                <a:gd name="connsiteY1" fmla="*/ 59842 h 171480"/>
                <a:gd name="connsiteX2" fmla="*/ 171481 w 292170"/>
                <a:gd name="connsiteY2" fmla="*/ 90015 h 171480"/>
                <a:gd name="connsiteX3" fmla="*/ 121193 w 292170"/>
                <a:gd name="connsiteY3" fmla="*/ 39727 h 171480"/>
                <a:gd name="connsiteX4" fmla="*/ 91021 w 292170"/>
                <a:gd name="connsiteY4" fmla="*/ 69900 h 171480"/>
                <a:gd name="connsiteX5" fmla="*/ 21121 w 292170"/>
                <a:gd name="connsiteY5" fmla="*/ 0 h 171480"/>
                <a:gd name="connsiteX6" fmla="*/ 0 w 292170"/>
                <a:gd name="connsiteY6" fmla="*/ 21121 h 171480"/>
                <a:gd name="connsiteX7" fmla="*/ 91021 w 292170"/>
                <a:gd name="connsiteY7" fmla="*/ 112141 h 171480"/>
                <a:gd name="connsiteX8" fmla="*/ 121193 w 292170"/>
                <a:gd name="connsiteY8" fmla="*/ 81969 h 171480"/>
                <a:gd name="connsiteX9" fmla="*/ 171481 w 292170"/>
                <a:gd name="connsiteY9" fmla="*/ 132256 h 171480"/>
                <a:gd name="connsiteX10" fmla="*/ 201653 w 292170"/>
                <a:gd name="connsiteY10" fmla="*/ 102084 h 171480"/>
                <a:gd name="connsiteX11" fmla="*/ 241381 w 292170"/>
                <a:gd name="connsiteY11" fmla="*/ 141811 h 171480"/>
                <a:gd name="connsiteX12" fmla="*/ 211711 w 292170"/>
                <a:gd name="connsiteY12" fmla="*/ 171481 h 171480"/>
                <a:gd name="connsiteX13" fmla="*/ 292171 w 292170"/>
                <a:gd name="connsiteY13" fmla="*/ 171481 h 171480"/>
                <a:gd name="connsiteX14" fmla="*/ 292171 w 292170"/>
                <a:gd name="connsiteY14" fmla="*/ 91021 h 17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170" h="171480">
                  <a:moveTo>
                    <a:pt x="262501" y="120690"/>
                  </a:moveTo>
                  <a:lnTo>
                    <a:pt x="201653" y="59842"/>
                  </a:lnTo>
                  <a:lnTo>
                    <a:pt x="171481" y="90015"/>
                  </a:lnTo>
                  <a:lnTo>
                    <a:pt x="121193" y="39727"/>
                  </a:lnTo>
                  <a:lnTo>
                    <a:pt x="91021" y="69900"/>
                  </a:lnTo>
                  <a:lnTo>
                    <a:pt x="21121" y="0"/>
                  </a:lnTo>
                  <a:lnTo>
                    <a:pt x="0" y="21121"/>
                  </a:lnTo>
                  <a:lnTo>
                    <a:pt x="91021" y="112141"/>
                  </a:lnTo>
                  <a:lnTo>
                    <a:pt x="121193" y="81969"/>
                  </a:lnTo>
                  <a:lnTo>
                    <a:pt x="171481" y="132256"/>
                  </a:lnTo>
                  <a:lnTo>
                    <a:pt x="201653" y="102084"/>
                  </a:lnTo>
                  <a:lnTo>
                    <a:pt x="241381" y="141811"/>
                  </a:lnTo>
                  <a:lnTo>
                    <a:pt x="211711" y="171481"/>
                  </a:lnTo>
                  <a:lnTo>
                    <a:pt x="292171" y="171481"/>
                  </a:lnTo>
                  <a:lnTo>
                    <a:pt x="292171" y="91021"/>
                  </a:lnTo>
                  <a:close/>
                </a:path>
              </a:pathLst>
            </a:custGeom>
            <a:solidFill>
              <a:srgbClr val="1B9D91"/>
            </a:solidFill>
            <a:ln w="19050" cap="flat">
              <a:solidFill>
                <a:schemeClr val="bg1"/>
              </a:solidFill>
              <a:prstDash val="solid"/>
              <a:miter/>
            </a:ln>
          </p:spPr>
          <p:txBody>
            <a:bodyPr rtlCol="0" anchor="ctr"/>
            <a:lstStyle/>
            <a:p>
              <a:endParaRPr lang="fr-FR"/>
            </a:p>
          </p:txBody>
        </p:sp>
      </p:grpSp>
    </p:spTree>
    <p:extLst>
      <p:ext uri="{BB962C8B-B14F-4D97-AF65-F5344CB8AC3E}">
        <p14:creationId xmlns:p14="http://schemas.microsoft.com/office/powerpoint/2010/main" val="138472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78C923-45ED-4A37-A5DB-2613F018855F}"/>
              </a:ext>
            </a:extLst>
          </p:cNvPr>
          <p:cNvSpPr>
            <a:spLocks noGrp="1"/>
          </p:cNvSpPr>
          <p:nvPr>
            <p:ph type="title"/>
          </p:nvPr>
        </p:nvSpPr>
        <p:spPr/>
        <p:txBody>
          <a:bodyPr/>
          <a:lstStyle/>
          <a:p>
            <a:endParaRPr lang="fr-FR"/>
          </a:p>
        </p:txBody>
      </p:sp>
      <p:sp>
        <p:nvSpPr>
          <p:cNvPr id="3" name="Espace réservé de la date 2">
            <a:extLst>
              <a:ext uri="{FF2B5EF4-FFF2-40B4-BE49-F238E27FC236}">
                <a16:creationId xmlns:a16="http://schemas.microsoft.com/office/drawing/2014/main" id="{AAB30CDC-2717-4AFF-8396-C23E3ABA90B1}"/>
              </a:ext>
            </a:extLst>
          </p:cNvPr>
          <p:cNvSpPr>
            <a:spLocks noGrp="1"/>
          </p:cNvSpPr>
          <p:nvPr>
            <p:ph type="dt" sz="half" idx="14"/>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15F8A439-3814-4F46-9861-A084069C5013}"/>
              </a:ext>
            </a:extLst>
          </p:cNvPr>
          <p:cNvSpPr>
            <a:spLocks noGrp="1"/>
          </p:cNvSpPr>
          <p:nvPr>
            <p:ph type="ftr" sz="quarter" idx="15"/>
          </p:nvPr>
        </p:nvSpPr>
        <p:spPr/>
        <p:txBody>
          <a:bodyPr/>
          <a:lstStyle/>
          <a:p>
            <a:pPr algn="l"/>
            <a:r>
              <a:rPr lang="fr-FR"/>
              <a:t>Titre de la présentation - 00/00/00</a:t>
            </a:r>
            <a:endParaRPr lang="fr-FR" dirty="0"/>
          </a:p>
        </p:txBody>
      </p:sp>
      <p:sp>
        <p:nvSpPr>
          <p:cNvPr id="5" name="Espace réservé du numéro de diapositive 4">
            <a:extLst>
              <a:ext uri="{FF2B5EF4-FFF2-40B4-BE49-F238E27FC236}">
                <a16:creationId xmlns:a16="http://schemas.microsoft.com/office/drawing/2014/main" id="{F069AA48-8B41-4E9A-AA7D-CF61665037B2}"/>
              </a:ext>
            </a:extLst>
          </p:cNvPr>
          <p:cNvSpPr>
            <a:spLocks noGrp="1"/>
          </p:cNvSpPr>
          <p:nvPr>
            <p:ph type="sldNum" sz="quarter" idx="16"/>
          </p:nvPr>
        </p:nvSpPr>
        <p:spPr/>
        <p:txBody>
          <a:bodyPr/>
          <a:lstStyle/>
          <a:p>
            <a:fld id="{733122C9-A0B9-462F-8757-0847AD287B63}" type="slidenum">
              <a:rPr lang="fr-FR" smtClean="0"/>
              <a:pPr/>
              <a:t>9</a:t>
            </a:fld>
            <a:endParaRPr lang="fr-FR" dirty="0"/>
          </a:p>
        </p:txBody>
      </p:sp>
      <p:sp>
        <p:nvSpPr>
          <p:cNvPr id="6" name="Espace réservé du texte 5">
            <a:extLst>
              <a:ext uri="{FF2B5EF4-FFF2-40B4-BE49-F238E27FC236}">
                <a16:creationId xmlns:a16="http://schemas.microsoft.com/office/drawing/2014/main" id="{37C5D5A6-0939-466D-87B2-2901092813ED}"/>
              </a:ext>
            </a:extLst>
          </p:cNvPr>
          <p:cNvSpPr>
            <a:spLocks noGrp="1"/>
          </p:cNvSpPr>
          <p:nvPr>
            <p:ph type="body" sz="quarter" idx="17"/>
          </p:nvPr>
        </p:nvSpPr>
        <p:spPr/>
        <p:txBody>
          <a:bodyPr/>
          <a:lstStyle/>
          <a:p>
            <a:r>
              <a:rPr lang="fr-FR" dirty="0"/>
              <a:t>Quels intérêts économiques?</a:t>
            </a:r>
          </a:p>
        </p:txBody>
      </p:sp>
    </p:spTree>
    <p:extLst>
      <p:ext uri="{BB962C8B-B14F-4D97-AF65-F5344CB8AC3E}">
        <p14:creationId xmlns:p14="http://schemas.microsoft.com/office/powerpoint/2010/main" val="2773665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confrontation*hands*fists*fighting*feud*enemies*enemy*adversaries*resistance*collaboration"/>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drilling*industry*working*productivity*construction*destruction*digging*tool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24.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3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0qNq24opN4iYAB2njC4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Default Theme" id="{072CF57F-0325-476D-9428-FF1AA9A6559C}" vid="{1667804D-70EB-4281-ACA3-E990F8D51FCC}"/>
    </a:ext>
  </a:extLst>
</a:theme>
</file>

<file path=ppt/theme/theme2.xml><?xml version="1.0" encoding="utf-8"?>
<a:theme xmlns:a="http://schemas.openxmlformats.org/drawingml/2006/main" name="1_AUBERT&amp;DUVAL">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869ED258-25C0-47E6-944C-BF97BD6B4D0D}"/>
    </a:ext>
  </a:extLst>
</a:theme>
</file>

<file path=ppt/theme/theme3.xml><?xml version="1.0" encoding="utf-8"?>
<a:theme xmlns:a="http://schemas.openxmlformats.org/drawingml/2006/main" name="2_ERASTEEL">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54DB7B35-2F85-4150-AA57-186F44BF3FE3}"/>
    </a:ext>
  </a:extLst>
</a:theme>
</file>

<file path=ppt/theme/theme4.xml><?xml version="1.0" encoding="utf-8"?>
<a:theme xmlns:a="http://schemas.openxmlformats.org/drawingml/2006/main" name="3_AD+ES">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5278248A-07DD-46FD-9847-6640A84025F1}"/>
    </a:ext>
  </a:extLst>
</a:theme>
</file>

<file path=ppt/theme/theme5.xml><?xml version="1.0" encoding="utf-8"?>
<a:theme xmlns:a="http://schemas.openxmlformats.org/drawingml/2006/main" name="4-Vier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2738</TotalTime>
  <Words>1230</Words>
  <Application>Microsoft Office PowerPoint</Application>
  <PresentationFormat>Affichage à l'écran (4:3)</PresentationFormat>
  <Paragraphs>188</Paragraphs>
  <Slides>20</Slides>
  <Notes>1</Notes>
  <HiddenSlides>0</HiddenSlides>
  <MMClips>0</MMClips>
  <ScaleCrop>false</ScaleCrop>
  <HeadingPairs>
    <vt:vector size="8" baseType="variant">
      <vt:variant>
        <vt:lpstr>Polices utilisées</vt:lpstr>
      </vt:variant>
      <vt:variant>
        <vt:i4>6</vt:i4>
      </vt:variant>
      <vt:variant>
        <vt:lpstr>Thème</vt:lpstr>
      </vt:variant>
      <vt:variant>
        <vt:i4>5</vt:i4>
      </vt:variant>
      <vt:variant>
        <vt:lpstr>Serveurs OLE incorporés</vt:lpstr>
      </vt:variant>
      <vt:variant>
        <vt:i4>1</vt:i4>
      </vt:variant>
      <vt:variant>
        <vt:lpstr>Titres des diapositives</vt:lpstr>
      </vt:variant>
      <vt:variant>
        <vt:i4>20</vt:i4>
      </vt:variant>
    </vt:vector>
  </HeadingPairs>
  <TitlesOfParts>
    <vt:vector size="32" baseType="lpstr">
      <vt:lpstr>Arial</vt:lpstr>
      <vt:lpstr>Calibri</vt:lpstr>
      <vt:lpstr>Calibri Light</vt:lpstr>
      <vt:lpstr>Open Sans</vt:lpstr>
      <vt:lpstr>Times New Roman</vt:lpstr>
      <vt:lpstr>Wingdings</vt:lpstr>
      <vt:lpstr>Default Theme</vt:lpstr>
      <vt:lpstr>1_AUBERT&amp;DUVAL</vt:lpstr>
      <vt:lpstr>2_ERASTEEL</vt:lpstr>
      <vt:lpstr>3_AD+ES</vt:lpstr>
      <vt:lpstr>4-Vierge</vt:lpstr>
      <vt:lpstr>Diapositive think-cell</vt:lpstr>
      <vt:lpstr>Présentation PowerPoint</vt:lpstr>
      <vt:lpstr>Qui sommes nous?</vt:lpstr>
      <vt:lpstr>Présentation PowerPoint</vt:lpstr>
      <vt:lpstr>Présentation PowerPoint</vt:lpstr>
      <vt:lpstr>Présentation PowerPoint</vt:lpstr>
      <vt:lpstr>Présentation PowerPoint</vt:lpstr>
      <vt:lpstr>Notre raison d’être : Être une solution aux défis actuels et futurs de la filière titane</vt:lpstr>
      <vt:lpstr>Pourquoi l’économie circulaire ?</vt:lpstr>
      <vt:lpstr>Présentation PowerPoint</vt:lpstr>
      <vt:lpstr>Quelques réponses…</vt:lpstr>
      <vt:lpstr>Quelques réponses…</vt:lpstr>
      <vt:lpstr>Quelques réponses…</vt:lpstr>
      <vt:lpstr>Quelques réponses…</vt:lpstr>
      <vt:lpstr>Présentation PowerPoint</vt:lpstr>
      <vt:lpstr>Différentes possibilités</vt:lpstr>
      <vt:lpstr>Présentation PowerPoint</vt:lpstr>
      <vt:lpstr>Au-delà de l’intérêt économique, l’économie circulaire permet de réduire considérablement l’empreinte environnementale</vt:lpstr>
      <vt:lpstr>La filière valorisation est moins énergivore que la voie standard (éponges)</vt:lpstr>
      <vt:lpstr>Présentation PowerPoint</vt:lpstr>
      <vt:lpstr>Centre europe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ROVENCHERE Sandrine</dc:creator>
  <cp:lastModifiedBy>DELABORDE Patrick</cp:lastModifiedBy>
  <cp:revision>118</cp:revision>
  <dcterms:created xsi:type="dcterms:W3CDTF">2021-02-25T09:23:11Z</dcterms:created>
  <dcterms:modified xsi:type="dcterms:W3CDTF">2021-06-29T14:18:10Z</dcterms:modified>
</cp:coreProperties>
</file>